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0" r:id="rId5"/>
  </p:sldMasterIdLst>
  <p:notesMasterIdLst>
    <p:notesMasterId r:id="rId11"/>
  </p:notesMasterIdLst>
  <p:handoutMasterIdLst>
    <p:handoutMasterId r:id="rId12"/>
  </p:handoutMasterIdLst>
  <p:sldIdLst>
    <p:sldId id="499" r:id="rId6"/>
    <p:sldId id="493" r:id="rId7"/>
    <p:sldId id="495" r:id="rId8"/>
    <p:sldId id="497" r:id="rId9"/>
    <p:sldId id="502" r:id="rId10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46E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323" autoAdjust="0"/>
    <p:restoredTop sz="94434" autoAdjust="0"/>
  </p:normalViewPr>
  <p:slideViewPr>
    <p:cSldViewPr snapToGrid="0" snapToObjects="1">
      <p:cViewPr varScale="1">
        <p:scale>
          <a:sx n="114" d="100"/>
          <a:sy n="114" d="100"/>
        </p:scale>
        <p:origin x="1122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4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57" d="100"/>
          <a:sy n="57" d="100"/>
        </p:scale>
        <p:origin x="-2520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7F731B8-9B33-4CBE-842D-51DD760BF8D8}" type="doc">
      <dgm:prSet loTypeId="urn:microsoft.com/office/officeart/2005/8/layout/hList1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8DA58CD3-972D-47A7-94BE-E31A595683AF}">
      <dgm:prSet phldrT="[Texto]"/>
      <dgm:spPr/>
      <dgm:t>
        <a:bodyPr/>
        <a:lstStyle/>
        <a:p>
          <a:r>
            <a:rPr lang="es-CO" dirty="0"/>
            <a:t>Equipo</a:t>
          </a:r>
        </a:p>
        <a:p>
          <a:r>
            <a:rPr lang="es-CO" dirty="0"/>
            <a:t> </a:t>
          </a:r>
        </a:p>
      </dgm:t>
    </dgm:pt>
    <dgm:pt modelId="{2BC4418F-B2A0-4631-9E2B-3C8C09C65C7E}" type="parTrans" cxnId="{428619AC-D228-41A8-9CA3-E17C0D764CE2}">
      <dgm:prSet/>
      <dgm:spPr/>
      <dgm:t>
        <a:bodyPr/>
        <a:lstStyle/>
        <a:p>
          <a:endParaRPr lang="es-CO"/>
        </a:p>
      </dgm:t>
    </dgm:pt>
    <dgm:pt modelId="{C136B47B-4E4A-4DF3-8976-82C74C474FA1}" type="sibTrans" cxnId="{428619AC-D228-41A8-9CA3-E17C0D764CE2}">
      <dgm:prSet/>
      <dgm:spPr/>
      <dgm:t>
        <a:bodyPr/>
        <a:lstStyle/>
        <a:p>
          <a:endParaRPr lang="es-CO"/>
        </a:p>
      </dgm:t>
    </dgm:pt>
    <dgm:pt modelId="{FA361569-1EDE-4EC7-A515-1E7878E9DE3F}">
      <dgm:prSet phldrT="[Texto]" custT="1"/>
      <dgm:spPr/>
      <dgm:t>
        <a:bodyPr/>
        <a:lstStyle/>
        <a:p>
          <a:r>
            <a:rPr lang="es-CO" sz="1200" dirty="0"/>
            <a:t>Se cuenta con 4 desarrolladores y 2 analistas de certificación, Se cuenta con un artefacto de automatización el cual cubre el 6% de las pruebas funcionales (E2E).</a:t>
          </a:r>
        </a:p>
      </dgm:t>
    </dgm:pt>
    <dgm:pt modelId="{5EEAEFBE-7038-4A5B-B496-002E1C6079BC}" type="parTrans" cxnId="{9D4404CF-DA17-49FB-8444-8A45CD331548}">
      <dgm:prSet/>
      <dgm:spPr/>
      <dgm:t>
        <a:bodyPr/>
        <a:lstStyle/>
        <a:p>
          <a:endParaRPr lang="es-CO"/>
        </a:p>
      </dgm:t>
    </dgm:pt>
    <dgm:pt modelId="{FBF42901-5D79-4C71-9412-C653DFB39A44}" type="sibTrans" cxnId="{9D4404CF-DA17-49FB-8444-8A45CD331548}">
      <dgm:prSet/>
      <dgm:spPr/>
      <dgm:t>
        <a:bodyPr/>
        <a:lstStyle/>
        <a:p>
          <a:endParaRPr lang="es-CO"/>
        </a:p>
      </dgm:t>
    </dgm:pt>
    <dgm:pt modelId="{9B6BA52B-376B-49D9-9BE6-564523AA9C71}">
      <dgm:prSet phldrT="[Texto]" custT="1"/>
      <dgm:spPr/>
      <dgm:t>
        <a:bodyPr/>
        <a:lstStyle/>
        <a:p>
          <a:r>
            <a:rPr lang="es-CO" sz="1800" dirty="0"/>
            <a:t>Desarrollos Actuales</a:t>
          </a:r>
        </a:p>
      </dgm:t>
    </dgm:pt>
    <dgm:pt modelId="{3F882EC3-3596-4164-A211-BCCD57653B3F}" type="parTrans" cxnId="{37377529-5D67-4E06-89E2-BA2DE2E21214}">
      <dgm:prSet/>
      <dgm:spPr/>
      <dgm:t>
        <a:bodyPr/>
        <a:lstStyle/>
        <a:p>
          <a:endParaRPr lang="es-CO"/>
        </a:p>
      </dgm:t>
    </dgm:pt>
    <dgm:pt modelId="{34B9CA41-E73C-44B3-BAC3-B44D8ED31113}" type="sibTrans" cxnId="{37377529-5D67-4E06-89E2-BA2DE2E21214}">
      <dgm:prSet/>
      <dgm:spPr/>
      <dgm:t>
        <a:bodyPr/>
        <a:lstStyle/>
        <a:p>
          <a:endParaRPr lang="es-CO"/>
        </a:p>
      </dgm:t>
    </dgm:pt>
    <dgm:pt modelId="{A5A9E927-7140-4DF8-BE15-4D77A42BFCFF}">
      <dgm:prSet phldrT="[Texto]" custT="1"/>
      <dgm:spPr/>
      <dgm:t>
        <a:bodyPr/>
        <a:lstStyle/>
        <a:p>
          <a:r>
            <a:rPr lang="es-CO" sz="1200" dirty="0"/>
            <a:t>Los analistas de certificación de la célula cubren las tareas tanto de automatizar como de ejecución de pruebas manuales y gestión.</a:t>
          </a:r>
        </a:p>
      </dgm:t>
    </dgm:pt>
    <dgm:pt modelId="{C5E3A7BD-4D95-443B-AE1B-A99736656D60}" type="parTrans" cxnId="{C5E142E3-41E1-424F-96EC-E28BC9AD9987}">
      <dgm:prSet/>
      <dgm:spPr/>
      <dgm:t>
        <a:bodyPr/>
        <a:lstStyle/>
        <a:p>
          <a:endParaRPr lang="es-CO"/>
        </a:p>
      </dgm:t>
    </dgm:pt>
    <dgm:pt modelId="{B7A7342D-36FF-46F0-BE0C-CADBDD8E84A1}" type="sibTrans" cxnId="{C5E142E3-41E1-424F-96EC-E28BC9AD9987}">
      <dgm:prSet/>
      <dgm:spPr/>
      <dgm:t>
        <a:bodyPr/>
        <a:lstStyle/>
        <a:p>
          <a:endParaRPr lang="es-CO"/>
        </a:p>
      </dgm:t>
    </dgm:pt>
    <dgm:pt modelId="{E05B7030-76B2-4B31-ABEF-A6686D29244E}">
      <dgm:prSet phldrT="[Texto]" custT="1"/>
      <dgm:spPr/>
      <dgm:t>
        <a:bodyPr/>
        <a:lstStyle/>
        <a:p>
          <a:r>
            <a:rPr lang="es-CO" sz="1200" dirty="0"/>
            <a:t>Se cuenta con 441 escenarios de pruebas manuales ejecutados exitosamente .</a:t>
          </a:r>
        </a:p>
      </dgm:t>
    </dgm:pt>
    <dgm:pt modelId="{6A16D74B-11CF-49B1-8351-B2BC3538B27F}" type="sibTrans" cxnId="{4511178F-663F-448D-AD85-7F27F93EAB50}">
      <dgm:prSet/>
      <dgm:spPr/>
      <dgm:t>
        <a:bodyPr/>
        <a:lstStyle/>
        <a:p>
          <a:endParaRPr lang="es-CO"/>
        </a:p>
      </dgm:t>
    </dgm:pt>
    <dgm:pt modelId="{803C2D2C-39D1-44AA-829F-1CE293A0186C}" type="parTrans" cxnId="{4511178F-663F-448D-AD85-7F27F93EAB50}">
      <dgm:prSet/>
      <dgm:spPr/>
      <dgm:t>
        <a:bodyPr/>
        <a:lstStyle/>
        <a:p>
          <a:endParaRPr lang="es-CO"/>
        </a:p>
      </dgm:t>
    </dgm:pt>
    <dgm:pt modelId="{9461AFD7-3D6A-4A0F-A525-1272AADF3992}">
      <dgm:prSet phldrT="[Texto]"/>
      <dgm:spPr/>
      <dgm:t>
        <a:bodyPr/>
        <a:lstStyle/>
        <a:p>
          <a:r>
            <a:rPr lang="es-CO" dirty="0"/>
            <a:t>Avances</a:t>
          </a:r>
        </a:p>
      </dgm:t>
    </dgm:pt>
    <dgm:pt modelId="{D4AAF5D9-9E7B-45D5-92E9-DC2E3024D986}" type="sibTrans" cxnId="{C0C53806-FFF3-4CA7-B5F9-22DD3CA626EE}">
      <dgm:prSet/>
      <dgm:spPr/>
      <dgm:t>
        <a:bodyPr/>
        <a:lstStyle/>
        <a:p>
          <a:endParaRPr lang="es-CO"/>
        </a:p>
      </dgm:t>
    </dgm:pt>
    <dgm:pt modelId="{DF979D9C-0FC0-4BFA-BC84-E524EFD34A3F}" type="parTrans" cxnId="{C0C53806-FFF3-4CA7-B5F9-22DD3CA626EE}">
      <dgm:prSet/>
      <dgm:spPr/>
      <dgm:t>
        <a:bodyPr/>
        <a:lstStyle/>
        <a:p>
          <a:endParaRPr lang="es-CO"/>
        </a:p>
      </dgm:t>
    </dgm:pt>
    <dgm:pt modelId="{E5799E6B-53DA-473E-B7F6-EB0D88B83C7A}">
      <dgm:prSet phldrT="[Texto]" custT="1"/>
      <dgm:spPr/>
      <dgm:t>
        <a:bodyPr/>
        <a:lstStyle/>
        <a:p>
          <a:r>
            <a:rPr lang="es-CO" sz="1200" dirty="0"/>
            <a:t>Carga de Archivos.</a:t>
          </a:r>
        </a:p>
      </dgm:t>
    </dgm:pt>
    <dgm:pt modelId="{CBC7795C-3C6B-446A-B04D-79C514716B97}" type="sibTrans" cxnId="{AA640FF9-2439-4A35-B4EA-FE8C300BCFA5}">
      <dgm:prSet/>
      <dgm:spPr/>
      <dgm:t>
        <a:bodyPr/>
        <a:lstStyle/>
        <a:p>
          <a:endParaRPr lang="es-CO"/>
        </a:p>
      </dgm:t>
    </dgm:pt>
    <dgm:pt modelId="{FEEB533B-905A-4534-AAD7-0ABF342342B3}" type="parTrans" cxnId="{AA640FF9-2439-4A35-B4EA-FE8C300BCFA5}">
      <dgm:prSet/>
      <dgm:spPr/>
      <dgm:t>
        <a:bodyPr/>
        <a:lstStyle/>
        <a:p>
          <a:endParaRPr lang="es-CO"/>
        </a:p>
      </dgm:t>
    </dgm:pt>
    <dgm:pt modelId="{FCB0FD73-DF62-499C-A447-89027DA6B897}">
      <dgm:prSet phldrT="[Texto]" custT="1"/>
      <dgm:spPr/>
      <dgm:t>
        <a:bodyPr/>
        <a:lstStyle/>
        <a:p>
          <a:r>
            <a:rPr lang="es-CO" sz="1200" dirty="0"/>
            <a:t>No se ha efectuado la integración del artefacto de automatización al RM del Pipeline de </a:t>
          </a:r>
          <a:r>
            <a:rPr lang="es-CO" sz="1200" dirty="0" err="1"/>
            <a:t>DevOps</a:t>
          </a:r>
          <a:r>
            <a:rPr lang="es-CO" sz="1200" dirty="0"/>
            <a:t>.</a:t>
          </a:r>
        </a:p>
      </dgm:t>
    </dgm:pt>
    <dgm:pt modelId="{9FD9E4AB-DAAF-46A1-AAD0-F3CA8F98588F}" type="parTrans" cxnId="{6954F665-CFD6-4228-821F-B114092E0F6E}">
      <dgm:prSet/>
      <dgm:spPr/>
      <dgm:t>
        <a:bodyPr/>
        <a:lstStyle/>
        <a:p>
          <a:endParaRPr lang="en-US"/>
        </a:p>
      </dgm:t>
    </dgm:pt>
    <dgm:pt modelId="{AE65BA18-1824-43C9-AC76-51F2BFACED3D}" type="sibTrans" cxnId="{6954F665-CFD6-4228-821F-B114092E0F6E}">
      <dgm:prSet/>
      <dgm:spPr/>
      <dgm:t>
        <a:bodyPr/>
        <a:lstStyle/>
        <a:p>
          <a:endParaRPr lang="en-US"/>
        </a:p>
      </dgm:t>
    </dgm:pt>
    <dgm:pt modelId="{0515DB22-7B09-4EE1-8D56-B304BF7BF1D2}">
      <dgm:prSet phldrT="[Texto]" custT="1"/>
      <dgm:spPr/>
      <dgm:t>
        <a:bodyPr/>
        <a:lstStyle/>
        <a:p>
          <a:r>
            <a:rPr lang="es-CO" sz="1200" dirty="0"/>
            <a:t>Se cuenta con Automatización del canal con 5 flujos y 24 escenarios</a:t>
          </a:r>
        </a:p>
      </dgm:t>
    </dgm:pt>
    <dgm:pt modelId="{C0D1152E-507D-43EA-8D06-A76A3C036DF4}" type="sibTrans" cxnId="{4DE7B9FF-6D0E-4527-A6D2-25920B4414FE}">
      <dgm:prSet/>
      <dgm:spPr/>
      <dgm:t>
        <a:bodyPr/>
        <a:lstStyle/>
        <a:p>
          <a:endParaRPr lang="en-US"/>
        </a:p>
      </dgm:t>
    </dgm:pt>
    <dgm:pt modelId="{88969B89-DF0E-4001-937A-4B4171A72538}" type="parTrans" cxnId="{4DE7B9FF-6D0E-4527-A6D2-25920B4414FE}">
      <dgm:prSet/>
      <dgm:spPr/>
      <dgm:t>
        <a:bodyPr/>
        <a:lstStyle/>
        <a:p>
          <a:endParaRPr lang="en-US"/>
        </a:p>
      </dgm:t>
    </dgm:pt>
    <dgm:pt modelId="{CD5CC233-4EFA-4440-A346-41ED9D1204E9}">
      <dgm:prSet phldrT="[Texto]" custT="1"/>
      <dgm:spPr/>
      <dgm:t>
        <a:bodyPr/>
        <a:lstStyle/>
        <a:p>
          <a:r>
            <a:rPr lang="es-ES" sz="1200" dirty="0"/>
            <a:t>Autenticación.</a:t>
          </a:r>
          <a:endParaRPr lang="es-CO" sz="1200" dirty="0"/>
        </a:p>
      </dgm:t>
    </dgm:pt>
    <dgm:pt modelId="{E91291D7-178D-4010-A65E-654E7459EDF9}" type="parTrans" cxnId="{DFFB3E15-9804-4843-A4AB-2A9815BBC5A4}">
      <dgm:prSet/>
      <dgm:spPr/>
    </dgm:pt>
    <dgm:pt modelId="{0BC8C3BD-9860-478F-BB0E-B3F53DF26998}" type="sibTrans" cxnId="{DFFB3E15-9804-4843-A4AB-2A9815BBC5A4}">
      <dgm:prSet/>
      <dgm:spPr/>
    </dgm:pt>
    <dgm:pt modelId="{49110A76-F1ED-4EE8-832C-B03A895A3D60}">
      <dgm:prSet phldrT="[Texto]" custT="1"/>
      <dgm:spPr/>
      <dgm:t>
        <a:bodyPr/>
        <a:lstStyle/>
        <a:p>
          <a:r>
            <a:rPr lang="es-ES" sz="1200" dirty="0"/>
            <a:t>Validación de Lotes</a:t>
          </a:r>
          <a:endParaRPr lang="es-CO" sz="1200" dirty="0"/>
        </a:p>
      </dgm:t>
    </dgm:pt>
    <dgm:pt modelId="{89B9D073-67B5-4695-BAB2-BBBDFE6170FE}" type="parTrans" cxnId="{B735085B-56D9-418E-8AE8-CBC508F0FF6C}">
      <dgm:prSet/>
      <dgm:spPr/>
    </dgm:pt>
    <dgm:pt modelId="{16AB8689-C349-4427-85EA-E939BE2C25F7}" type="sibTrans" cxnId="{B735085B-56D9-418E-8AE8-CBC508F0FF6C}">
      <dgm:prSet/>
      <dgm:spPr/>
    </dgm:pt>
    <dgm:pt modelId="{A5D1393F-8586-43D4-A66E-E8E13BA96874}">
      <dgm:prSet phldrT="[Texto]" custT="1"/>
      <dgm:spPr/>
      <dgm:t>
        <a:bodyPr/>
        <a:lstStyle/>
        <a:p>
          <a:r>
            <a:rPr lang="es-MX" sz="1200" dirty="0"/>
            <a:t>Procesamiento de Lotes</a:t>
          </a:r>
          <a:endParaRPr lang="es-CO" sz="1200" dirty="0"/>
        </a:p>
      </dgm:t>
    </dgm:pt>
    <dgm:pt modelId="{7DEF05DC-C460-43C3-B9A7-EFB3EBDEC69C}" type="parTrans" cxnId="{A9253C1C-0796-4193-B2C3-668333E706F3}">
      <dgm:prSet/>
      <dgm:spPr/>
    </dgm:pt>
    <dgm:pt modelId="{D0E25816-560B-4524-8857-9793100A6977}" type="sibTrans" cxnId="{A9253C1C-0796-4193-B2C3-668333E706F3}">
      <dgm:prSet/>
      <dgm:spPr/>
    </dgm:pt>
    <dgm:pt modelId="{AE9BD73E-7CDA-4395-8793-3EA2AA5D97F1}">
      <dgm:prSet phldrT="[Texto]" custT="1"/>
      <dgm:spPr/>
      <dgm:t>
        <a:bodyPr/>
        <a:lstStyle/>
        <a:p>
          <a:r>
            <a:rPr lang="es-ES" sz="1200" dirty="0"/>
            <a:t>Doble Factor de Autenticación.</a:t>
          </a:r>
          <a:endParaRPr lang="es-CO" sz="1200" dirty="0"/>
        </a:p>
      </dgm:t>
    </dgm:pt>
    <dgm:pt modelId="{6DC6C5EF-9C3B-45FC-8DB6-8CF3FE34943B}" type="parTrans" cxnId="{BE241C5A-C3A5-4034-B6B9-DCAFF75B6F19}">
      <dgm:prSet/>
      <dgm:spPr/>
    </dgm:pt>
    <dgm:pt modelId="{56F7D682-C024-4F0E-89FC-1B29499FCB8E}" type="sibTrans" cxnId="{BE241C5A-C3A5-4034-B6B9-DCAFF75B6F19}">
      <dgm:prSet/>
      <dgm:spPr/>
    </dgm:pt>
    <dgm:pt modelId="{127C10BB-523C-44A1-A2DC-6B902F7097E5}">
      <dgm:prSet phldrT="[Texto]" custT="1"/>
      <dgm:spPr/>
      <dgm:t>
        <a:bodyPr/>
        <a:lstStyle/>
        <a:p>
          <a:r>
            <a:rPr lang="es-ES" sz="1200" dirty="0"/>
            <a:t>Consulta de Lotes</a:t>
          </a:r>
          <a:endParaRPr lang="es-CO" sz="1200" dirty="0"/>
        </a:p>
      </dgm:t>
    </dgm:pt>
    <dgm:pt modelId="{F4BD28F8-F168-45D1-B599-FDB9E0716367}" type="parTrans" cxnId="{83B0E70B-7564-4C49-AAD9-3B5635474D34}">
      <dgm:prSet/>
      <dgm:spPr/>
    </dgm:pt>
    <dgm:pt modelId="{2A67A2DB-6095-40C1-94BB-49E0DC01186B}" type="sibTrans" cxnId="{83B0E70B-7564-4C49-AAD9-3B5635474D34}">
      <dgm:prSet/>
      <dgm:spPr/>
    </dgm:pt>
    <dgm:pt modelId="{04FB3D5A-CD59-4AD3-9E3C-44E9907B2B8B}">
      <dgm:prSet phldrT="[Texto]" custT="1"/>
      <dgm:spPr/>
      <dgm:t>
        <a:bodyPr/>
        <a:lstStyle/>
        <a:p>
          <a:r>
            <a:rPr lang="es-MX" sz="1200" dirty="0"/>
            <a:t>Extracción de Lotes</a:t>
          </a:r>
          <a:endParaRPr lang="es-CO" sz="1200" dirty="0"/>
        </a:p>
      </dgm:t>
    </dgm:pt>
    <dgm:pt modelId="{E93B4F1B-AE52-4236-8219-BB6E82AF9558}" type="parTrans" cxnId="{124FE913-E5F5-45E3-90E3-F8C9585770CC}">
      <dgm:prSet/>
      <dgm:spPr/>
    </dgm:pt>
    <dgm:pt modelId="{2A78A30E-5E15-465D-A9A2-01F40EEF2557}" type="sibTrans" cxnId="{124FE913-E5F5-45E3-90E3-F8C9585770CC}">
      <dgm:prSet/>
      <dgm:spPr/>
    </dgm:pt>
    <dgm:pt modelId="{F87100B1-FEED-4261-A6A6-FE52060B43E1}" type="pres">
      <dgm:prSet presAssocID="{77F731B8-9B33-4CBE-842D-51DD760BF8D8}" presName="Name0" presStyleCnt="0">
        <dgm:presLayoutVars>
          <dgm:dir/>
          <dgm:animLvl val="lvl"/>
          <dgm:resizeHandles val="exact"/>
        </dgm:presLayoutVars>
      </dgm:prSet>
      <dgm:spPr/>
    </dgm:pt>
    <dgm:pt modelId="{B28028BA-A68E-474E-8F05-D42E08A03AFF}" type="pres">
      <dgm:prSet presAssocID="{8DA58CD3-972D-47A7-94BE-E31A595683AF}" presName="composite" presStyleCnt="0"/>
      <dgm:spPr/>
    </dgm:pt>
    <dgm:pt modelId="{4C1930E4-B1B5-4AF9-B270-D94FAFFF80CD}" type="pres">
      <dgm:prSet presAssocID="{8DA58CD3-972D-47A7-94BE-E31A595683AF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03CE8629-EAE6-45EA-8404-6C63B8F65E84}" type="pres">
      <dgm:prSet presAssocID="{8DA58CD3-972D-47A7-94BE-E31A595683AF}" presName="desTx" presStyleLbl="alignAccFollowNode1" presStyleIdx="0" presStyleCnt="3">
        <dgm:presLayoutVars>
          <dgm:bulletEnabled val="1"/>
        </dgm:presLayoutVars>
      </dgm:prSet>
      <dgm:spPr/>
    </dgm:pt>
    <dgm:pt modelId="{1F541B36-130A-4330-B51A-BB69075DBA29}" type="pres">
      <dgm:prSet presAssocID="{C136B47B-4E4A-4DF3-8976-82C74C474FA1}" presName="space" presStyleCnt="0"/>
      <dgm:spPr/>
    </dgm:pt>
    <dgm:pt modelId="{50E4A35D-5B13-4DE2-9A7D-E35157A8A2E6}" type="pres">
      <dgm:prSet presAssocID="{9B6BA52B-376B-49D9-9BE6-564523AA9C71}" presName="composite" presStyleCnt="0"/>
      <dgm:spPr/>
    </dgm:pt>
    <dgm:pt modelId="{036C6C83-A770-4290-8594-DAD04EE94EE3}" type="pres">
      <dgm:prSet presAssocID="{9B6BA52B-376B-49D9-9BE6-564523AA9C71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E2A9E1D2-D6A2-4DDB-B2FC-1B1E8448D4F6}" type="pres">
      <dgm:prSet presAssocID="{9B6BA52B-376B-49D9-9BE6-564523AA9C71}" presName="desTx" presStyleLbl="alignAccFollowNode1" presStyleIdx="1" presStyleCnt="3">
        <dgm:presLayoutVars>
          <dgm:bulletEnabled val="1"/>
        </dgm:presLayoutVars>
      </dgm:prSet>
      <dgm:spPr/>
    </dgm:pt>
    <dgm:pt modelId="{1F087E79-F1A9-4C14-AF6A-9171D019E96C}" type="pres">
      <dgm:prSet presAssocID="{34B9CA41-E73C-44B3-BAC3-B44D8ED31113}" presName="space" presStyleCnt="0"/>
      <dgm:spPr/>
    </dgm:pt>
    <dgm:pt modelId="{D0B57E61-B6BC-4C2C-A46F-52F2005F7541}" type="pres">
      <dgm:prSet presAssocID="{9461AFD7-3D6A-4A0F-A525-1272AADF3992}" presName="composite" presStyleCnt="0"/>
      <dgm:spPr/>
    </dgm:pt>
    <dgm:pt modelId="{2306F283-970B-45A9-9E20-4478A2AC5D4D}" type="pres">
      <dgm:prSet presAssocID="{9461AFD7-3D6A-4A0F-A525-1272AADF3992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00CE0A8D-DFD1-4477-9FF6-4AA0DD07A7EF}" type="pres">
      <dgm:prSet presAssocID="{9461AFD7-3D6A-4A0F-A525-1272AADF3992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C0C53806-FFF3-4CA7-B5F9-22DD3CA626EE}" srcId="{77F731B8-9B33-4CBE-842D-51DD760BF8D8}" destId="{9461AFD7-3D6A-4A0F-A525-1272AADF3992}" srcOrd="2" destOrd="0" parTransId="{DF979D9C-0FC0-4BFA-BC84-E524EFD34A3F}" sibTransId="{D4AAF5D9-9E7B-45D5-92E9-DC2E3024D986}"/>
    <dgm:cxn modelId="{83B0E70B-7564-4C49-AAD9-3B5635474D34}" srcId="{9B6BA52B-376B-49D9-9BE6-564523AA9C71}" destId="{127C10BB-523C-44A1-A2DC-6B902F7097E5}" srcOrd="5" destOrd="0" parTransId="{F4BD28F8-F168-45D1-B599-FDB9E0716367}" sibTransId="{2A67A2DB-6095-40C1-94BB-49E0DC01186B}"/>
    <dgm:cxn modelId="{4415F70E-69A3-4BE2-8895-2265D0CB0B32}" type="presOf" srcId="{CD5CC233-4EFA-4440-A346-41ED9D1204E9}" destId="{E2A9E1D2-D6A2-4DDB-B2FC-1B1E8448D4F6}" srcOrd="0" destOrd="1" presId="urn:microsoft.com/office/officeart/2005/8/layout/hList1"/>
    <dgm:cxn modelId="{124FE913-E5F5-45E3-90E3-F8C9585770CC}" srcId="{9B6BA52B-376B-49D9-9BE6-564523AA9C71}" destId="{04FB3D5A-CD59-4AD3-9E3C-44E9907B2B8B}" srcOrd="6" destOrd="0" parTransId="{E93B4F1B-AE52-4236-8219-BB6E82AF9558}" sibTransId="{2A78A30E-5E15-465D-A9A2-01F40EEF2557}"/>
    <dgm:cxn modelId="{DFFB3E15-9804-4843-A4AB-2A9815BBC5A4}" srcId="{9B6BA52B-376B-49D9-9BE6-564523AA9C71}" destId="{CD5CC233-4EFA-4440-A346-41ED9D1204E9}" srcOrd="1" destOrd="0" parTransId="{E91291D7-178D-4010-A65E-654E7459EDF9}" sibTransId="{0BC8C3BD-9860-478F-BB0E-B3F53DF26998}"/>
    <dgm:cxn modelId="{A9253C1C-0796-4193-B2C3-668333E706F3}" srcId="{9B6BA52B-376B-49D9-9BE6-564523AA9C71}" destId="{A5D1393F-8586-43D4-A66E-E8E13BA96874}" srcOrd="3" destOrd="0" parTransId="{7DEF05DC-C460-43C3-B9A7-EFB3EBDEC69C}" sibTransId="{D0E25816-560B-4524-8857-9793100A6977}"/>
    <dgm:cxn modelId="{635F0020-716F-48D1-8310-DBBDD0ED6A38}" type="presOf" srcId="{E5799E6B-53DA-473E-B7F6-EB0D88B83C7A}" destId="{E2A9E1D2-D6A2-4DDB-B2FC-1B1E8448D4F6}" srcOrd="0" destOrd="0" presId="urn:microsoft.com/office/officeart/2005/8/layout/hList1"/>
    <dgm:cxn modelId="{A8A18D27-12A7-4BB2-B988-0DAFED870759}" type="presOf" srcId="{A5A9E927-7140-4DF8-BE15-4D77A42BFCFF}" destId="{03CE8629-EAE6-45EA-8404-6C63B8F65E84}" srcOrd="0" destOrd="2" presId="urn:microsoft.com/office/officeart/2005/8/layout/hList1"/>
    <dgm:cxn modelId="{37377529-5D67-4E06-89E2-BA2DE2E21214}" srcId="{77F731B8-9B33-4CBE-842D-51DD760BF8D8}" destId="{9B6BA52B-376B-49D9-9BE6-564523AA9C71}" srcOrd="1" destOrd="0" parTransId="{3F882EC3-3596-4164-A211-BCCD57653B3F}" sibTransId="{34B9CA41-E73C-44B3-BAC3-B44D8ED31113}"/>
    <dgm:cxn modelId="{423E2932-E429-45AC-ACF5-E22242802DDD}" type="presOf" srcId="{A5D1393F-8586-43D4-A66E-E8E13BA96874}" destId="{E2A9E1D2-D6A2-4DDB-B2FC-1B1E8448D4F6}" srcOrd="0" destOrd="3" presId="urn:microsoft.com/office/officeart/2005/8/layout/hList1"/>
    <dgm:cxn modelId="{810A4C37-68C5-41A1-8D80-FF9D15D6BFC8}" type="presOf" srcId="{0515DB22-7B09-4EE1-8D56-B304BF7BF1D2}" destId="{00CE0A8D-DFD1-4477-9FF6-4AA0DD07A7EF}" srcOrd="0" destOrd="1" presId="urn:microsoft.com/office/officeart/2005/8/layout/hList1"/>
    <dgm:cxn modelId="{B735085B-56D9-418E-8AE8-CBC508F0FF6C}" srcId="{9B6BA52B-376B-49D9-9BE6-564523AA9C71}" destId="{49110A76-F1ED-4EE8-832C-B03A895A3D60}" srcOrd="2" destOrd="0" parTransId="{89B9D073-67B5-4695-BAB2-BBBDFE6170FE}" sibTransId="{16AB8689-C349-4427-85EA-E939BE2C25F7}"/>
    <dgm:cxn modelId="{BFC15A41-2EA6-434B-9AC6-9C2DD2823883}" type="presOf" srcId="{9B6BA52B-376B-49D9-9BE6-564523AA9C71}" destId="{036C6C83-A770-4290-8594-DAD04EE94EE3}" srcOrd="0" destOrd="0" presId="urn:microsoft.com/office/officeart/2005/8/layout/hList1"/>
    <dgm:cxn modelId="{6954F665-CFD6-4228-821F-B114092E0F6E}" srcId="{8DA58CD3-972D-47A7-94BE-E31A595683AF}" destId="{FCB0FD73-DF62-499C-A447-89027DA6B897}" srcOrd="1" destOrd="0" parTransId="{9FD9E4AB-DAAF-46A1-AAD0-F3CA8F98588F}" sibTransId="{AE65BA18-1824-43C9-AC76-51F2BFACED3D}"/>
    <dgm:cxn modelId="{8178FB67-01E1-49E7-8A80-1EF300ABFDD4}" type="presOf" srcId="{49110A76-F1ED-4EE8-832C-B03A895A3D60}" destId="{E2A9E1D2-D6A2-4DDB-B2FC-1B1E8448D4F6}" srcOrd="0" destOrd="2" presId="urn:microsoft.com/office/officeart/2005/8/layout/hList1"/>
    <dgm:cxn modelId="{BE241C5A-C3A5-4034-B6B9-DCAFF75B6F19}" srcId="{9B6BA52B-376B-49D9-9BE6-564523AA9C71}" destId="{AE9BD73E-7CDA-4395-8793-3EA2AA5D97F1}" srcOrd="4" destOrd="0" parTransId="{6DC6C5EF-9C3B-45FC-8DB6-8CF3FE34943B}" sibTransId="{56F7D682-C024-4F0E-89FC-1B29499FCB8E}"/>
    <dgm:cxn modelId="{8BC75088-EA2E-458B-9EBA-631337C3D433}" type="presOf" srcId="{127C10BB-523C-44A1-A2DC-6B902F7097E5}" destId="{E2A9E1D2-D6A2-4DDB-B2FC-1B1E8448D4F6}" srcOrd="0" destOrd="5" presId="urn:microsoft.com/office/officeart/2005/8/layout/hList1"/>
    <dgm:cxn modelId="{4511178F-663F-448D-AD85-7F27F93EAB50}" srcId="{9461AFD7-3D6A-4A0F-A525-1272AADF3992}" destId="{E05B7030-76B2-4B31-ABEF-A6686D29244E}" srcOrd="0" destOrd="0" parTransId="{803C2D2C-39D1-44AA-829F-1CE293A0186C}" sibTransId="{6A16D74B-11CF-49B1-8351-B2BC3538B27F}"/>
    <dgm:cxn modelId="{C6CC0DA3-EE26-4640-A56E-A5AC638D3EDB}" type="presOf" srcId="{9461AFD7-3D6A-4A0F-A525-1272AADF3992}" destId="{2306F283-970B-45A9-9E20-4478A2AC5D4D}" srcOrd="0" destOrd="0" presId="urn:microsoft.com/office/officeart/2005/8/layout/hList1"/>
    <dgm:cxn modelId="{DB3B36A6-857D-4EC4-B6B7-294D43D5EB22}" type="presOf" srcId="{E05B7030-76B2-4B31-ABEF-A6686D29244E}" destId="{00CE0A8D-DFD1-4477-9FF6-4AA0DD07A7EF}" srcOrd="0" destOrd="0" presId="urn:microsoft.com/office/officeart/2005/8/layout/hList1"/>
    <dgm:cxn modelId="{428619AC-D228-41A8-9CA3-E17C0D764CE2}" srcId="{77F731B8-9B33-4CBE-842D-51DD760BF8D8}" destId="{8DA58CD3-972D-47A7-94BE-E31A595683AF}" srcOrd="0" destOrd="0" parTransId="{2BC4418F-B2A0-4631-9E2B-3C8C09C65C7E}" sibTransId="{C136B47B-4E4A-4DF3-8976-82C74C474FA1}"/>
    <dgm:cxn modelId="{7782DDB8-178F-4707-8291-9D1D010C8CE9}" type="presOf" srcId="{04FB3D5A-CD59-4AD3-9E3C-44E9907B2B8B}" destId="{E2A9E1D2-D6A2-4DDB-B2FC-1B1E8448D4F6}" srcOrd="0" destOrd="6" presId="urn:microsoft.com/office/officeart/2005/8/layout/hList1"/>
    <dgm:cxn modelId="{5C810AC1-3AA6-4A12-821D-8974C017E872}" type="presOf" srcId="{FA361569-1EDE-4EC7-A515-1E7878E9DE3F}" destId="{03CE8629-EAE6-45EA-8404-6C63B8F65E84}" srcOrd="0" destOrd="0" presId="urn:microsoft.com/office/officeart/2005/8/layout/hList1"/>
    <dgm:cxn modelId="{2855BDCD-4827-4331-9192-50CDC9A79C6F}" type="presOf" srcId="{AE9BD73E-7CDA-4395-8793-3EA2AA5D97F1}" destId="{E2A9E1D2-D6A2-4DDB-B2FC-1B1E8448D4F6}" srcOrd="0" destOrd="4" presId="urn:microsoft.com/office/officeart/2005/8/layout/hList1"/>
    <dgm:cxn modelId="{9D4404CF-DA17-49FB-8444-8A45CD331548}" srcId="{8DA58CD3-972D-47A7-94BE-E31A595683AF}" destId="{FA361569-1EDE-4EC7-A515-1E7878E9DE3F}" srcOrd="0" destOrd="0" parTransId="{5EEAEFBE-7038-4A5B-B496-002E1C6079BC}" sibTransId="{FBF42901-5D79-4C71-9412-C653DFB39A44}"/>
    <dgm:cxn modelId="{24EE3CD0-6A32-46DB-8204-88955757CF9D}" type="presOf" srcId="{77F731B8-9B33-4CBE-842D-51DD760BF8D8}" destId="{F87100B1-FEED-4261-A6A6-FE52060B43E1}" srcOrd="0" destOrd="0" presId="urn:microsoft.com/office/officeart/2005/8/layout/hList1"/>
    <dgm:cxn modelId="{ECC15FE3-E7C0-49E9-841B-B4034D74C6CE}" type="presOf" srcId="{FCB0FD73-DF62-499C-A447-89027DA6B897}" destId="{03CE8629-EAE6-45EA-8404-6C63B8F65E84}" srcOrd="0" destOrd="1" presId="urn:microsoft.com/office/officeart/2005/8/layout/hList1"/>
    <dgm:cxn modelId="{C5E142E3-41E1-424F-96EC-E28BC9AD9987}" srcId="{8DA58CD3-972D-47A7-94BE-E31A595683AF}" destId="{A5A9E927-7140-4DF8-BE15-4D77A42BFCFF}" srcOrd="2" destOrd="0" parTransId="{C5E3A7BD-4D95-443B-AE1B-A99736656D60}" sibTransId="{B7A7342D-36FF-46F0-BE0C-CADBDD8E84A1}"/>
    <dgm:cxn modelId="{832192F3-881B-400A-BDA8-021AA01E5B50}" type="presOf" srcId="{8DA58CD3-972D-47A7-94BE-E31A595683AF}" destId="{4C1930E4-B1B5-4AF9-B270-D94FAFFF80CD}" srcOrd="0" destOrd="0" presId="urn:microsoft.com/office/officeart/2005/8/layout/hList1"/>
    <dgm:cxn modelId="{AA640FF9-2439-4A35-B4EA-FE8C300BCFA5}" srcId="{9B6BA52B-376B-49D9-9BE6-564523AA9C71}" destId="{E5799E6B-53DA-473E-B7F6-EB0D88B83C7A}" srcOrd="0" destOrd="0" parTransId="{FEEB533B-905A-4534-AAD7-0ABF342342B3}" sibTransId="{CBC7795C-3C6B-446A-B04D-79C514716B97}"/>
    <dgm:cxn modelId="{4DE7B9FF-6D0E-4527-A6D2-25920B4414FE}" srcId="{9461AFD7-3D6A-4A0F-A525-1272AADF3992}" destId="{0515DB22-7B09-4EE1-8D56-B304BF7BF1D2}" srcOrd="1" destOrd="0" parTransId="{88969B89-DF0E-4001-937A-4B4171A72538}" sibTransId="{C0D1152E-507D-43EA-8D06-A76A3C036DF4}"/>
    <dgm:cxn modelId="{52DFE1F8-F092-49F8-BF3C-F1FB8674B590}" type="presParOf" srcId="{F87100B1-FEED-4261-A6A6-FE52060B43E1}" destId="{B28028BA-A68E-474E-8F05-D42E08A03AFF}" srcOrd="0" destOrd="0" presId="urn:microsoft.com/office/officeart/2005/8/layout/hList1"/>
    <dgm:cxn modelId="{82386192-94B4-481A-B1C3-1368A2F02812}" type="presParOf" srcId="{B28028BA-A68E-474E-8F05-D42E08A03AFF}" destId="{4C1930E4-B1B5-4AF9-B270-D94FAFFF80CD}" srcOrd="0" destOrd="0" presId="urn:microsoft.com/office/officeart/2005/8/layout/hList1"/>
    <dgm:cxn modelId="{8B50E703-BE93-48FA-9814-FE6CE810D5E0}" type="presParOf" srcId="{B28028BA-A68E-474E-8F05-D42E08A03AFF}" destId="{03CE8629-EAE6-45EA-8404-6C63B8F65E84}" srcOrd="1" destOrd="0" presId="urn:microsoft.com/office/officeart/2005/8/layout/hList1"/>
    <dgm:cxn modelId="{581D202C-755B-44E1-A177-8B302FC0D57D}" type="presParOf" srcId="{F87100B1-FEED-4261-A6A6-FE52060B43E1}" destId="{1F541B36-130A-4330-B51A-BB69075DBA29}" srcOrd="1" destOrd="0" presId="urn:microsoft.com/office/officeart/2005/8/layout/hList1"/>
    <dgm:cxn modelId="{A5F2F208-7317-4D71-A337-C60683688949}" type="presParOf" srcId="{F87100B1-FEED-4261-A6A6-FE52060B43E1}" destId="{50E4A35D-5B13-4DE2-9A7D-E35157A8A2E6}" srcOrd="2" destOrd="0" presId="urn:microsoft.com/office/officeart/2005/8/layout/hList1"/>
    <dgm:cxn modelId="{0B48872E-9473-4120-A2BF-9EA560B4C656}" type="presParOf" srcId="{50E4A35D-5B13-4DE2-9A7D-E35157A8A2E6}" destId="{036C6C83-A770-4290-8594-DAD04EE94EE3}" srcOrd="0" destOrd="0" presId="urn:microsoft.com/office/officeart/2005/8/layout/hList1"/>
    <dgm:cxn modelId="{D678431A-0F24-43EB-8A22-27222A69A5DF}" type="presParOf" srcId="{50E4A35D-5B13-4DE2-9A7D-E35157A8A2E6}" destId="{E2A9E1D2-D6A2-4DDB-B2FC-1B1E8448D4F6}" srcOrd="1" destOrd="0" presId="urn:microsoft.com/office/officeart/2005/8/layout/hList1"/>
    <dgm:cxn modelId="{23CFB215-1BB8-443A-9C58-EB31DB693A71}" type="presParOf" srcId="{F87100B1-FEED-4261-A6A6-FE52060B43E1}" destId="{1F087E79-F1A9-4C14-AF6A-9171D019E96C}" srcOrd="3" destOrd="0" presId="urn:microsoft.com/office/officeart/2005/8/layout/hList1"/>
    <dgm:cxn modelId="{99BEC95B-E273-4EE8-B3B1-A9DCCDC3C505}" type="presParOf" srcId="{F87100B1-FEED-4261-A6A6-FE52060B43E1}" destId="{D0B57E61-B6BC-4C2C-A46F-52F2005F7541}" srcOrd="4" destOrd="0" presId="urn:microsoft.com/office/officeart/2005/8/layout/hList1"/>
    <dgm:cxn modelId="{3E6B5671-D8D4-435E-AEDC-6C4937F23946}" type="presParOf" srcId="{D0B57E61-B6BC-4C2C-A46F-52F2005F7541}" destId="{2306F283-970B-45A9-9E20-4478A2AC5D4D}" srcOrd="0" destOrd="0" presId="urn:microsoft.com/office/officeart/2005/8/layout/hList1"/>
    <dgm:cxn modelId="{7BF8D00B-F1B5-470F-AE1A-82A5A3529B40}" type="presParOf" srcId="{D0B57E61-B6BC-4C2C-A46F-52F2005F7541}" destId="{00CE0A8D-DFD1-4477-9FF6-4AA0DD07A7EF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FA8CFBE-9896-46E5-8B97-A6E174662C3E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F7DC6F08-CD0D-4EAE-9C2F-1407594AAD43}">
      <dgm:prSet phldrT="[Texto]" custT="1"/>
      <dgm:spPr/>
      <dgm:t>
        <a:bodyPr/>
        <a:lstStyle/>
        <a:p>
          <a:r>
            <a:rPr lang="es-CO" sz="2400" dirty="0"/>
            <a:t>¿Qué pruebas vamos a automatizar?</a:t>
          </a:r>
        </a:p>
      </dgm:t>
    </dgm:pt>
    <dgm:pt modelId="{DFB7ECC8-D41E-4F50-8D1E-854A3B18234A}" type="parTrans" cxnId="{80100E19-F62D-49C5-B925-0CDBACCD7979}">
      <dgm:prSet/>
      <dgm:spPr/>
      <dgm:t>
        <a:bodyPr/>
        <a:lstStyle/>
        <a:p>
          <a:endParaRPr lang="es-CO"/>
        </a:p>
      </dgm:t>
    </dgm:pt>
    <dgm:pt modelId="{9BCF4F6E-A733-4951-9C04-984C90819924}" type="sibTrans" cxnId="{80100E19-F62D-49C5-B925-0CDBACCD7979}">
      <dgm:prSet/>
      <dgm:spPr/>
      <dgm:t>
        <a:bodyPr/>
        <a:lstStyle/>
        <a:p>
          <a:endParaRPr lang="es-CO"/>
        </a:p>
      </dgm:t>
    </dgm:pt>
    <dgm:pt modelId="{E84EB145-EF12-401A-95EA-2409A7159EB1}">
      <dgm:prSet phldrT="[Texto]"/>
      <dgm:spPr/>
      <dgm:t>
        <a:bodyPr/>
        <a:lstStyle/>
        <a:p>
          <a:pPr algn="l"/>
          <a:endParaRPr lang="es-CO" sz="2200" dirty="0"/>
        </a:p>
      </dgm:t>
    </dgm:pt>
    <dgm:pt modelId="{02ECDD18-677D-4937-B942-DD63B172C999}" type="sibTrans" cxnId="{9168BD20-7B83-44EB-8465-DA7D245B4ADA}">
      <dgm:prSet/>
      <dgm:spPr/>
      <dgm:t>
        <a:bodyPr/>
        <a:lstStyle/>
        <a:p>
          <a:endParaRPr lang="es-CO"/>
        </a:p>
      </dgm:t>
    </dgm:pt>
    <dgm:pt modelId="{2C38B9FE-5FA7-4720-B0DA-0A9C1DD752A8}" type="parTrans" cxnId="{9168BD20-7B83-44EB-8465-DA7D245B4ADA}">
      <dgm:prSet/>
      <dgm:spPr/>
      <dgm:t>
        <a:bodyPr/>
        <a:lstStyle/>
        <a:p>
          <a:endParaRPr lang="es-CO"/>
        </a:p>
      </dgm:t>
    </dgm:pt>
    <dgm:pt modelId="{0991A628-3BE7-4CF0-9118-B6920C445DEF}">
      <dgm:prSet phldrT="[Texto]" custT="1"/>
      <dgm:spPr/>
      <dgm:t>
        <a:bodyPr/>
        <a:lstStyle/>
        <a:p>
          <a:pPr algn="l"/>
          <a:r>
            <a:rPr lang="es-ES" sz="2400" dirty="0"/>
            <a:t>Las funcionalidades criticas que tiene el canal de contingencia BLE.</a:t>
          </a:r>
          <a:endParaRPr lang="es-CO" sz="2400" dirty="0"/>
        </a:p>
      </dgm:t>
    </dgm:pt>
    <dgm:pt modelId="{463474DC-6C9F-44EA-AC16-6AC64CFC2A0D}" type="parTrans" cxnId="{0D18EF19-4C1A-4106-A0CF-820DD7D24A67}">
      <dgm:prSet/>
      <dgm:spPr/>
      <dgm:t>
        <a:bodyPr/>
        <a:lstStyle/>
        <a:p>
          <a:endParaRPr lang="es-ES"/>
        </a:p>
      </dgm:t>
    </dgm:pt>
    <dgm:pt modelId="{A583D292-FE69-4DBF-8DD7-FEBB36359232}" type="sibTrans" cxnId="{0D18EF19-4C1A-4106-A0CF-820DD7D24A67}">
      <dgm:prSet/>
      <dgm:spPr/>
      <dgm:t>
        <a:bodyPr/>
        <a:lstStyle/>
        <a:p>
          <a:endParaRPr lang="es-ES"/>
        </a:p>
      </dgm:t>
    </dgm:pt>
    <dgm:pt modelId="{A8FF25B8-956F-4646-8F97-91B93B4702E8}">
      <dgm:prSet phldrT="[Texto]" custT="1"/>
      <dgm:spPr/>
      <dgm:t>
        <a:bodyPr/>
        <a:lstStyle/>
        <a:p>
          <a:pPr algn="just"/>
          <a:endParaRPr lang="es-CO" sz="2400" dirty="0"/>
        </a:p>
      </dgm:t>
    </dgm:pt>
    <dgm:pt modelId="{68D64B73-F8CE-42AC-8C5D-1507AA7D2CCC}" type="parTrans" cxnId="{D6D84419-58AF-4584-9960-8022D30C4C80}">
      <dgm:prSet/>
      <dgm:spPr/>
      <dgm:t>
        <a:bodyPr/>
        <a:lstStyle/>
        <a:p>
          <a:endParaRPr lang="es-CO"/>
        </a:p>
      </dgm:t>
    </dgm:pt>
    <dgm:pt modelId="{16F3FBE2-824A-4F23-B8C7-163A85C67DCA}" type="sibTrans" cxnId="{D6D84419-58AF-4584-9960-8022D30C4C80}">
      <dgm:prSet/>
      <dgm:spPr/>
      <dgm:t>
        <a:bodyPr/>
        <a:lstStyle/>
        <a:p>
          <a:endParaRPr lang="es-CO"/>
        </a:p>
      </dgm:t>
    </dgm:pt>
    <dgm:pt modelId="{EBE21DD0-FA4A-4E78-9660-3FA97F361806}">
      <dgm:prSet phldrT="[Texto]" custT="1"/>
      <dgm:spPr/>
      <dgm:t>
        <a:bodyPr/>
        <a:lstStyle/>
        <a:p>
          <a:pPr algn="l"/>
          <a:r>
            <a:rPr lang="es-MX" sz="2400" dirty="0"/>
            <a:t>Autenticación</a:t>
          </a:r>
          <a:endParaRPr lang="es-CO" sz="2400" dirty="0"/>
        </a:p>
      </dgm:t>
    </dgm:pt>
    <dgm:pt modelId="{0675D8D9-9924-44A0-858D-E6C8867C4C5C}" type="parTrans" cxnId="{08F71868-C59A-46D8-A2A2-34F57581FF12}">
      <dgm:prSet/>
      <dgm:spPr/>
    </dgm:pt>
    <dgm:pt modelId="{43FAE19C-1624-4F70-8D12-1539741163B6}" type="sibTrans" cxnId="{08F71868-C59A-46D8-A2A2-34F57581FF12}">
      <dgm:prSet/>
      <dgm:spPr/>
    </dgm:pt>
    <dgm:pt modelId="{738E9E52-762C-4207-BA29-27922C741FA1}">
      <dgm:prSet phldrT="[Texto]" custT="1"/>
      <dgm:spPr/>
      <dgm:t>
        <a:bodyPr/>
        <a:lstStyle/>
        <a:p>
          <a:pPr algn="l"/>
          <a:r>
            <a:rPr lang="es-MX" sz="2400" dirty="0"/>
            <a:t>Validación Lotes</a:t>
          </a:r>
          <a:endParaRPr lang="es-CO" sz="2400" dirty="0"/>
        </a:p>
      </dgm:t>
    </dgm:pt>
    <dgm:pt modelId="{7C53EBE5-07A8-4219-BF53-90E57CF7D2FB}" type="parTrans" cxnId="{DC216352-34FA-406B-9CC8-AEBBC5C97C7F}">
      <dgm:prSet/>
      <dgm:spPr/>
    </dgm:pt>
    <dgm:pt modelId="{BEA7F974-1978-4016-92DF-6B2E0C3AD2A8}" type="sibTrans" cxnId="{DC216352-34FA-406B-9CC8-AEBBC5C97C7F}">
      <dgm:prSet/>
      <dgm:spPr/>
    </dgm:pt>
    <dgm:pt modelId="{162AC62D-FD1A-41F4-AAAB-10DBACA8B129}">
      <dgm:prSet phldrT="[Texto]" custT="1"/>
      <dgm:spPr/>
      <dgm:t>
        <a:bodyPr/>
        <a:lstStyle/>
        <a:p>
          <a:pPr algn="l"/>
          <a:r>
            <a:rPr lang="es-MX" sz="2400" dirty="0"/>
            <a:t>Procesamiento Lotes</a:t>
          </a:r>
          <a:endParaRPr lang="es-CO" sz="2400" dirty="0"/>
        </a:p>
      </dgm:t>
    </dgm:pt>
    <dgm:pt modelId="{B4AA5081-4015-451E-9DD3-679FB83EBA43}" type="parTrans" cxnId="{F8783563-683F-4453-8C29-9863E6E54905}">
      <dgm:prSet/>
      <dgm:spPr/>
    </dgm:pt>
    <dgm:pt modelId="{04A7B172-8A2E-45F1-9DA4-22233B24A4F4}" type="sibTrans" cxnId="{F8783563-683F-4453-8C29-9863E6E54905}">
      <dgm:prSet/>
      <dgm:spPr/>
    </dgm:pt>
    <dgm:pt modelId="{87EA482A-8ED7-4A5C-AC4D-DC3AC18967E1}">
      <dgm:prSet phldrT="[Texto]" custT="1"/>
      <dgm:spPr/>
      <dgm:t>
        <a:bodyPr/>
        <a:lstStyle/>
        <a:p>
          <a:pPr algn="l"/>
          <a:r>
            <a:rPr lang="es-MX" sz="2400" dirty="0"/>
            <a:t>Doble Factor de Autenticación</a:t>
          </a:r>
          <a:endParaRPr lang="es-CO" sz="2400" dirty="0"/>
        </a:p>
      </dgm:t>
    </dgm:pt>
    <dgm:pt modelId="{DBA2F3DA-3B12-4C31-A424-8E0C49608F32}" type="parTrans" cxnId="{65AFEC6F-575D-4C7F-8E5F-CA3305CAF2E0}">
      <dgm:prSet/>
      <dgm:spPr/>
    </dgm:pt>
    <dgm:pt modelId="{E0F83997-D993-4549-B4AD-A47634B3F7A1}" type="sibTrans" cxnId="{65AFEC6F-575D-4C7F-8E5F-CA3305CAF2E0}">
      <dgm:prSet/>
      <dgm:spPr/>
    </dgm:pt>
    <dgm:pt modelId="{2D32E048-B708-4301-90A2-28BAAB83EBF3}">
      <dgm:prSet phldrT="[Texto]" custT="1"/>
      <dgm:spPr/>
      <dgm:t>
        <a:bodyPr/>
        <a:lstStyle/>
        <a:p>
          <a:pPr algn="l"/>
          <a:r>
            <a:rPr lang="es-MX" sz="2400" dirty="0"/>
            <a:t>Consulta de Lotes</a:t>
          </a:r>
          <a:endParaRPr lang="es-CO" sz="2400" dirty="0"/>
        </a:p>
      </dgm:t>
    </dgm:pt>
    <dgm:pt modelId="{F69DE885-B241-4D78-9A44-4C028C4E2A5F}" type="parTrans" cxnId="{873210FB-058F-4A4E-9B87-24929FC88F44}">
      <dgm:prSet/>
      <dgm:spPr/>
    </dgm:pt>
    <dgm:pt modelId="{9B453CF1-224C-4F23-865C-9FB742FDA759}" type="sibTrans" cxnId="{873210FB-058F-4A4E-9B87-24929FC88F44}">
      <dgm:prSet/>
      <dgm:spPr/>
    </dgm:pt>
    <dgm:pt modelId="{651CC650-09FA-4DE3-8CB5-518B4626501C}" type="pres">
      <dgm:prSet presAssocID="{CFA8CFBE-9896-46E5-8B97-A6E174662C3E}" presName="linear" presStyleCnt="0">
        <dgm:presLayoutVars>
          <dgm:dir/>
          <dgm:animLvl val="lvl"/>
          <dgm:resizeHandles val="exact"/>
        </dgm:presLayoutVars>
      </dgm:prSet>
      <dgm:spPr/>
    </dgm:pt>
    <dgm:pt modelId="{F35EDC76-3B17-469C-9AAB-8723EC93D03B}" type="pres">
      <dgm:prSet presAssocID="{F7DC6F08-CD0D-4EAE-9C2F-1407594AAD43}" presName="parentLin" presStyleCnt="0"/>
      <dgm:spPr/>
    </dgm:pt>
    <dgm:pt modelId="{9CD74033-DE3B-4F49-85FC-CDD5993D3DBD}" type="pres">
      <dgm:prSet presAssocID="{F7DC6F08-CD0D-4EAE-9C2F-1407594AAD43}" presName="parentLeftMargin" presStyleLbl="node1" presStyleIdx="0" presStyleCnt="1"/>
      <dgm:spPr/>
    </dgm:pt>
    <dgm:pt modelId="{AC263EE5-D0BA-49E3-86DA-1D3E27691FFA}" type="pres">
      <dgm:prSet presAssocID="{F7DC6F08-CD0D-4EAE-9C2F-1407594AAD43}" presName="parentText" presStyleLbl="node1" presStyleIdx="0" presStyleCnt="1" custScaleY="95929" custLinFactNeighborX="16156" custLinFactNeighborY="-23804">
        <dgm:presLayoutVars>
          <dgm:chMax val="0"/>
          <dgm:bulletEnabled val="1"/>
        </dgm:presLayoutVars>
      </dgm:prSet>
      <dgm:spPr/>
    </dgm:pt>
    <dgm:pt modelId="{835E469A-042A-41EA-9CCB-075A2BB13D5E}" type="pres">
      <dgm:prSet presAssocID="{F7DC6F08-CD0D-4EAE-9C2F-1407594AAD43}" presName="negativeSpace" presStyleCnt="0"/>
      <dgm:spPr/>
    </dgm:pt>
    <dgm:pt modelId="{2CD6833B-4E40-49E8-A37F-D18D5E2BFB90}" type="pres">
      <dgm:prSet presAssocID="{F7DC6F08-CD0D-4EAE-9C2F-1407594AAD43}" presName="childText" presStyleLbl="conFgAcc1" presStyleIdx="0" presStyleCnt="1" custScaleY="93773" custLinFactNeighborY="65572">
        <dgm:presLayoutVars>
          <dgm:bulletEnabled val="1"/>
        </dgm:presLayoutVars>
      </dgm:prSet>
      <dgm:spPr/>
    </dgm:pt>
  </dgm:ptLst>
  <dgm:cxnLst>
    <dgm:cxn modelId="{0236BB0A-64E1-4BC3-B3D8-7E601696AD4A}" type="presOf" srcId="{162AC62D-FD1A-41F4-AAAB-10DBACA8B129}" destId="{2CD6833B-4E40-49E8-A37F-D18D5E2BFB90}" srcOrd="0" destOrd="3" presId="urn:microsoft.com/office/officeart/2005/8/layout/list1"/>
    <dgm:cxn modelId="{80100E19-F62D-49C5-B925-0CDBACCD7979}" srcId="{CFA8CFBE-9896-46E5-8B97-A6E174662C3E}" destId="{F7DC6F08-CD0D-4EAE-9C2F-1407594AAD43}" srcOrd="0" destOrd="0" parTransId="{DFB7ECC8-D41E-4F50-8D1E-854A3B18234A}" sibTransId="{9BCF4F6E-A733-4951-9C04-984C90819924}"/>
    <dgm:cxn modelId="{D6D84419-58AF-4584-9960-8022D30C4C80}" srcId="{F7DC6F08-CD0D-4EAE-9C2F-1407594AAD43}" destId="{A8FF25B8-956F-4646-8F97-91B93B4702E8}" srcOrd="6" destOrd="0" parTransId="{68D64B73-F8CE-42AC-8C5D-1507AA7D2CCC}" sibTransId="{16F3FBE2-824A-4F23-B8C7-163A85C67DCA}"/>
    <dgm:cxn modelId="{0D18EF19-4C1A-4106-A0CF-820DD7D24A67}" srcId="{F7DC6F08-CD0D-4EAE-9C2F-1407594AAD43}" destId="{0991A628-3BE7-4CF0-9118-B6920C445DEF}" srcOrd="0" destOrd="0" parTransId="{463474DC-6C9F-44EA-AC16-6AC64CFC2A0D}" sibTransId="{A583D292-FE69-4DBF-8DD7-FEBB36359232}"/>
    <dgm:cxn modelId="{9168BD20-7B83-44EB-8465-DA7D245B4ADA}" srcId="{F7DC6F08-CD0D-4EAE-9C2F-1407594AAD43}" destId="{E84EB145-EF12-401A-95EA-2409A7159EB1}" srcOrd="7" destOrd="0" parTransId="{2C38B9FE-5FA7-4720-B0DA-0A9C1DD752A8}" sibTransId="{02ECDD18-677D-4937-B942-DD63B172C999}"/>
    <dgm:cxn modelId="{91E83335-A3E4-455C-9D76-3735126B4BD0}" type="presOf" srcId="{A8FF25B8-956F-4646-8F97-91B93B4702E8}" destId="{2CD6833B-4E40-49E8-A37F-D18D5E2BFB90}" srcOrd="0" destOrd="6" presId="urn:microsoft.com/office/officeart/2005/8/layout/list1"/>
    <dgm:cxn modelId="{67211D5D-D0AC-4925-B3EA-80D706B7501C}" type="presOf" srcId="{738E9E52-762C-4207-BA29-27922C741FA1}" destId="{2CD6833B-4E40-49E8-A37F-D18D5E2BFB90}" srcOrd="0" destOrd="2" presId="urn:microsoft.com/office/officeart/2005/8/layout/list1"/>
    <dgm:cxn modelId="{F8783563-683F-4453-8C29-9863E6E54905}" srcId="{F7DC6F08-CD0D-4EAE-9C2F-1407594AAD43}" destId="{162AC62D-FD1A-41F4-AAAB-10DBACA8B129}" srcOrd="3" destOrd="0" parTransId="{B4AA5081-4015-451E-9DD3-679FB83EBA43}" sibTransId="{04A7B172-8A2E-45F1-9DA4-22233B24A4F4}"/>
    <dgm:cxn modelId="{08F71868-C59A-46D8-A2A2-34F57581FF12}" srcId="{F7DC6F08-CD0D-4EAE-9C2F-1407594AAD43}" destId="{EBE21DD0-FA4A-4E78-9660-3FA97F361806}" srcOrd="1" destOrd="0" parTransId="{0675D8D9-9924-44A0-858D-E6C8867C4C5C}" sibTransId="{43FAE19C-1624-4F70-8D12-1539741163B6}"/>
    <dgm:cxn modelId="{7142094A-A109-49E8-B9D1-853FD9824610}" type="presOf" srcId="{EBE21DD0-FA4A-4E78-9660-3FA97F361806}" destId="{2CD6833B-4E40-49E8-A37F-D18D5E2BFB90}" srcOrd="0" destOrd="1" presId="urn:microsoft.com/office/officeart/2005/8/layout/list1"/>
    <dgm:cxn modelId="{65AFEC6F-575D-4C7F-8E5F-CA3305CAF2E0}" srcId="{F7DC6F08-CD0D-4EAE-9C2F-1407594AAD43}" destId="{87EA482A-8ED7-4A5C-AC4D-DC3AC18967E1}" srcOrd="4" destOrd="0" parTransId="{DBA2F3DA-3B12-4C31-A424-8E0C49608F32}" sibTransId="{E0F83997-D993-4549-B4AD-A47634B3F7A1}"/>
    <dgm:cxn modelId="{DC216352-34FA-406B-9CC8-AEBBC5C97C7F}" srcId="{F7DC6F08-CD0D-4EAE-9C2F-1407594AAD43}" destId="{738E9E52-762C-4207-BA29-27922C741FA1}" srcOrd="2" destOrd="0" parTransId="{7C53EBE5-07A8-4219-BF53-90E57CF7D2FB}" sibTransId="{BEA7F974-1978-4016-92DF-6B2E0C3AD2A8}"/>
    <dgm:cxn modelId="{5685F17C-E2EE-4D17-A08A-0D61F2177A9E}" type="presOf" srcId="{2D32E048-B708-4301-90A2-28BAAB83EBF3}" destId="{2CD6833B-4E40-49E8-A37F-D18D5E2BFB90}" srcOrd="0" destOrd="5" presId="urn:microsoft.com/office/officeart/2005/8/layout/list1"/>
    <dgm:cxn modelId="{E43CA38E-2377-4B16-92A9-E08B498CE37E}" type="presOf" srcId="{F7DC6F08-CD0D-4EAE-9C2F-1407594AAD43}" destId="{AC263EE5-D0BA-49E3-86DA-1D3E27691FFA}" srcOrd="1" destOrd="0" presId="urn:microsoft.com/office/officeart/2005/8/layout/list1"/>
    <dgm:cxn modelId="{F888AAC0-11C1-42A8-B4DF-5901D8E8B8A7}" type="presOf" srcId="{CFA8CFBE-9896-46E5-8B97-A6E174662C3E}" destId="{651CC650-09FA-4DE3-8CB5-518B4626501C}" srcOrd="0" destOrd="0" presId="urn:microsoft.com/office/officeart/2005/8/layout/list1"/>
    <dgm:cxn modelId="{CFC44DCF-E0F0-4DCB-AFED-C9DF336F2B05}" type="presOf" srcId="{F7DC6F08-CD0D-4EAE-9C2F-1407594AAD43}" destId="{9CD74033-DE3B-4F49-85FC-CDD5993D3DBD}" srcOrd="0" destOrd="0" presId="urn:microsoft.com/office/officeart/2005/8/layout/list1"/>
    <dgm:cxn modelId="{90ED5BEF-1DB5-4309-9507-F10B4BD7CB03}" type="presOf" srcId="{87EA482A-8ED7-4A5C-AC4D-DC3AC18967E1}" destId="{2CD6833B-4E40-49E8-A37F-D18D5E2BFB90}" srcOrd="0" destOrd="4" presId="urn:microsoft.com/office/officeart/2005/8/layout/list1"/>
    <dgm:cxn modelId="{3E3D9AF6-D131-46A0-A39D-A7D0065DBB1E}" type="presOf" srcId="{0991A628-3BE7-4CF0-9118-B6920C445DEF}" destId="{2CD6833B-4E40-49E8-A37F-D18D5E2BFB90}" srcOrd="0" destOrd="0" presId="urn:microsoft.com/office/officeart/2005/8/layout/list1"/>
    <dgm:cxn modelId="{873210FB-058F-4A4E-9B87-24929FC88F44}" srcId="{F7DC6F08-CD0D-4EAE-9C2F-1407594AAD43}" destId="{2D32E048-B708-4301-90A2-28BAAB83EBF3}" srcOrd="5" destOrd="0" parTransId="{F69DE885-B241-4D78-9A44-4C028C4E2A5F}" sibTransId="{9B453CF1-224C-4F23-865C-9FB742FDA759}"/>
    <dgm:cxn modelId="{E4927DFC-1D89-45B1-A5C0-034C01C9EF17}" type="presOf" srcId="{E84EB145-EF12-401A-95EA-2409A7159EB1}" destId="{2CD6833B-4E40-49E8-A37F-D18D5E2BFB90}" srcOrd="0" destOrd="7" presId="urn:microsoft.com/office/officeart/2005/8/layout/list1"/>
    <dgm:cxn modelId="{3E93B071-2497-4331-8818-9D3B9FF81714}" type="presParOf" srcId="{651CC650-09FA-4DE3-8CB5-518B4626501C}" destId="{F35EDC76-3B17-469C-9AAB-8723EC93D03B}" srcOrd="0" destOrd="0" presId="urn:microsoft.com/office/officeart/2005/8/layout/list1"/>
    <dgm:cxn modelId="{4360487B-A771-472F-B4F0-1E0F07848FB7}" type="presParOf" srcId="{F35EDC76-3B17-469C-9AAB-8723EC93D03B}" destId="{9CD74033-DE3B-4F49-85FC-CDD5993D3DBD}" srcOrd="0" destOrd="0" presId="urn:microsoft.com/office/officeart/2005/8/layout/list1"/>
    <dgm:cxn modelId="{A837AA3B-AADA-4FF9-BDC8-58EA0ED9A778}" type="presParOf" srcId="{F35EDC76-3B17-469C-9AAB-8723EC93D03B}" destId="{AC263EE5-D0BA-49E3-86DA-1D3E27691FFA}" srcOrd="1" destOrd="0" presId="urn:microsoft.com/office/officeart/2005/8/layout/list1"/>
    <dgm:cxn modelId="{9B0DC6C0-CED7-48D8-B8DA-E7AE3F43DD06}" type="presParOf" srcId="{651CC650-09FA-4DE3-8CB5-518B4626501C}" destId="{835E469A-042A-41EA-9CCB-075A2BB13D5E}" srcOrd="1" destOrd="0" presId="urn:microsoft.com/office/officeart/2005/8/layout/list1"/>
    <dgm:cxn modelId="{61F2DB9D-4B15-498F-94B9-AA767053416A}" type="presParOf" srcId="{651CC650-09FA-4DE3-8CB5-518B4626501C}" destId="{2CD6833B-4E40-49E8-A37F-D18D5E2BFB90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FA8CFBE-9896-46E5-8B97-A6E174662C3E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F7DC6F08-CD0D-4EAE-9C2F-1407594AAD43}">
      <dgm:prSet phldrT="[Texto]" custT="1"/>
      <dgm:spPr/>
      <dgm:t>
        <a:bodyPr/>
        <a:lstStyle/>
        <a:p>
          <a:r>
            <a:rPr lang="es-CO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Realizar transacción completa producto.</a:t>
          </a:r>
        </a:p>
      </dgm:t>
    </dgm:pt>
    <dgm:pt modelId="{DFB7ECC8-D41E-4F50-8D1E-854A3B18234A}" type="parTrans" cxnId="{80100E19-F62D-49C5-B925-0CDBACCD7979}">
      <dgm:prSet/>
      <dgm:spPr/>
      <dgm:t>
        <a:bodyPr/>
        <a:lstStyle/>
        <a:p>
          <a:endParaRPr lang="es-CO"/>
        </a:p>
      </dgm:t>
    </dgm:pt>
    <dgm:pt modelId="{9BCF4F6E-A733-4951-9C04-984C90819924}" type="sibTrans" cxnId="{80100E19-F62D-49C5-B925-0CDBACCD7979}">
      <dgm:prSet/>
      <dgm:spPr/>
      <dgm:t>
        <a:bodyPr/>
        <a:lstStyle/>
        <a:p>
          <a:endParaRPr lang="es-CO"/>
        </a:p>
      </dgm:t>
    </dgm:pt>
    <dgm:pt modelId="{75F24368-19AA-4E08-A965-D6BE40FF5700}">
      <dgm:prSet phldrT="[Texto]" custT="1"/>
      <dgm:spPr/>
      <dgm:t>
        <a:bodyPr/>
        <a:lstStyle/>
        <a:p>
          <a:r>
            <a:rPr lang="es-CO" sz="1600" i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Validar flujo completo de cada transacción</a:t>
          </a:r>
        </a:p>
      </dgm:t>
    </dgm:pt>
    <dgm:pt modelId="{C094FF7F-CF1A-40C4-8514-26326E0D8C13}" type="parTrans" cxnId="{2616035F-727F-433A-AD8A-E30FDA6054B1}">
      <dgm:prSet/>
      <dgm:spPr/>
      <dgm:t>
        <a:bodyPr/>
        <a:lstStyle/>
        <a:p>
          <a:endParaRPr lang="es-CO"/>
        </a:p>
      </dgm:t>
    </dgm:pt>
    <dgm:pt modelId="{E6B4EE5B-B259-4CEF-8BBB-AC9A56E712AB}" type="sibTrans" cxnId="{2616035F-727F-433A-AD8A-E30FDA6054B1}">
      <dgm:prSet/>
      <dgm:spPr/>
      <dgm:t>
        <a:bodyPr/>
        <a:lstStyle/>
        <a:p>
          <a:endParaRPr lang="es-CO"/>
        </a:p>
      </dgm:t>
    </dgm:pt>
    <dgm:pt modelId="{A5374639-C75B-4B79-A111-A317D5043F6F}">
      <dgm:prSet phldrT="[Texto]" custT="1"/>
      <dgm:spPr/>
      <dgm:t>
        <a:bodyPr/>
        <a:lstStyle/>
        <a:p>
          <a:r>
            <a:rPr lang="es-CO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Se utiliza el patrón de diseño </a:t>
          </a:r>
          <a:r>
            <a:rPr lang="es-CO" sz="1600" dirty="0" err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Screenplay</a:t>
          </a:r>
          <a:r>
            <a:rPr lang="es-CO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+ </a:t>
          </a:r>
          <a:r>
            <a:rPr lang="es-CO" sz="1600" dirty="0" err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Serenity</a:t>
          </a:r>
          <a:r>
            <a:rPr lang="es-CO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con </a:t>
          </a:r>
          <a:r>
            <a:rPr lang="es-CO" sz="1600" dirty="0" err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Cucumber</a:t>
          </a:r>
          <a:r>
            <a:rPr lang="es-CO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y </a:t>
          </a:r>
          <a:r>
            <a:rPr lang="es-CO" sz="1600" dirty="0" err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Gradle</a:t>
          </a:r>
          <a:r>
            <a:rPr lang="es-CO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.</a:t>
          </a:r>
          <a:endParaRPr lang="es-CO" sz="1200" dirty="0">
            <a:highlight>
              <a:srgbClr val="FFFF00"/>
            </a:highlight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A950187-2715-4247-A6CA-8DDC1FF23830}" type="parTrans" cxnId="{90CDB1F6-1D27-4F75-84A2-499E07C1A5D6}">
      <dgm:prSet/>
      <dgm:spPr/>
      <dgm:t>
        <a:bodyPr/>
        <a:lstStyle/>
        <a:p>
          <a:endParaRPr lang="es-CO"/>
        </a:p>
      </dgm:t>
    </dgm:pt>
    <dgm:pt modelId="{FA68C8AA-5FFE-4183-A9E4-63E1DBE19C4F}" type="sibTrans" cxnId="{90CDB1F6-1D27-4F75-84A2-499E07C1A5D6}">
      <dgm:prSet/>
      <dgm:spPr/>
      <dgm:t>
        <a:bodyPr/>
        <a:lstStyle/>
        <a:p>
          <a:endParaRPr lang="es-CO"/>
        </a:p>
      </dgm:t>
    </dgm:pt>
    <dgm:pt modelId="{37B5110B-7265-491C-BF92-0AE45AD49260}">
      <dgm:prSet phldrT="[Texto]" custT="1"/>
      <dgm:spPr/>
      <dgm:t>
        <a:bodyPr/>
        <a:lstStyle/>
        <a:p>
          <a:r>
            <a:rPr lang="es-CO" sz="1600" i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Se realizaran pruebas E2E para cada tipo de transacción sea: Planilla, Transferencias Internacionales y Terceros Banistmo &amp; ACH</a:t>
          </a:r>
        </a:p>
      </dgm:t>
    </dgm:pt>
    <dgm:pt modelId="{A06E233F-2822-4D55-A209-2CBB660B4A2F}" type="parTrans" cxnId="{F2724C28-3D96-4695-A2ED-53201A29E163}">
      <dgm:prSet/>
      <dgm:spPr/>
      <dgm:t>
        <a:bodyPr/>
        <a:lstStyle/>
        <a:p>
          <a:endParaRPr lang="es-ES"/>
        </a:p>
      </dgm:t>
    </dgm:pt>
    <dgm:pt modelId="{F2653F63-9BC7-4E68-860B-A22FF908B125}" type="sibTrans" cxnId="{F2724C28-3D96-4695-A2ED-53201A29E163}">
      <dgm:prSet/>
      <dgm:spPr/>
      <dgm:t>
        <a:bodyPr/>
        <a:lstStyle/>
        <a:p>
          <a:endParaRPr lang="es-ES"/>
        </a:p>
      </dgm:t>
    </dgm:pt>
    <dgm:pt modelId="{651CC650-09FA-4DE3-8CB5-518B4626501C}" type="pres">
      <dgm:prSet presAssocID="{CFA8CFBE-9896-46E5-8B97-A6E174662C3E}" presName="linear" presStyleCnt="0">
        <dgm:presLayoutVars>
          <dgm:dir/>
          <dgm:animLvl val="lvl"/>
          <dgm:resizeHandles val="exact"/>
        </dgm:presLayoutVars>
      </dgm:prSet>
      <dgm:spPr/>
    </dgm:pt>
    <dgm:pt modelId="{F35EDC76-3B17-469C-9AAB-8723EC93D03B}" type="pres">
      <dgm:prSet presAssocID="{F7DC6F08-CD0D-4EAE-9C2F-1407594AAD43}" presName="parentLin" presStyleCnt="0"/>
      <dgm:spPr/>
    </dgm:pt>
    <dgm:pt modelId="{9CD74033-DE3B-4F49-85FC-CDD5993D3DBD}" type="pres">
      <dgm:prSet presAssocID="{F7DC6F08-CD0D-4EAE-9C2F-1407594AAD43}" presName="parentLeftMargin" presStyleLbl="node1" presStyleIdx="0" presStyleCnt="2"/>
      <dgm:spPr/>
    </dgm:pt>
    <dgm:pt modelId="{AC263EE5-D0BA-49E3-86DA-1D3E27691FFA}" type="pres">
      <dgm:prSet presAssocID="{F7DC6F08-CD0D-4EAE-9C2F-1407594AAD43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835E469A-042A-41EA-9CCB-075A2BB13D5E}" type="pres">
      <dgm:prSet presAssocID="{F7DC6F08-CD0D-4EAE-9C2F-1407594AAD43}" presName="negativeSpace" presStyleCnt="0"/>
      <dgm:spPr/>
    </dgm:pt>
    <dgm:pt modelId="{2CD6833B-4E40-49E8-A37F-D18D5E2BFB90}" type="pres">
      <dgm:prSet presAssocID="{F7DC6F08-CD0D-4EAE-9C2F-1407594AAD43}" presName="childText" presStyleLbl="conFgAcc1" presStyleIdx="0" presStyleCnt="2">
        <dgm:presLayoutVars>
          <dgm:bulletEnabled val="1"/>
        </dgm:presLayoutVars>
      </dgm:prSet>
      <dgm:spPr/>
    </dgm:pt>
    <dgm:pt modelId="{7A1C39CC-1D9F-4B69-A6B6-689389E97A6C}" type="pres">
      <dgm:prSet presAssocID="{9BCF4F6E-A733-4951-9C04-984C90819924}" presName="spaceBetweenRectangles" presStyleCnt="0"/>
      <dgm:spPr/>
    </dgm:pt>
    <dgm:pt modelId="{11528E79-A174-40C6-9822-2983083677C7}" type="pres">
      <dgm:prSet presAssocID="{75F24368-19AA-4E08-A965-D6BE40FF5700}" presName="parentLin" presStyleCnt="0"/>
      <dgm:spPr/>
    </dgm:pt>
    <dgm:pt modelId="{3CE5EC70-62B0-4658-9622-46E47C6183E3}" type="pres">
      <dgm:prSet presAssocID="{75F24368-19AA-4E08-A965-D6BE40FF5700}" presName="parentLeftMargin" presStyleLbl="node1" presStyleIdx="0" presStyleCnt="2"/>
      <dgm:spPr/>
    </dgm:pt>
    <dgm:pt modelId="{DA66C5DC-26F7-4479-93C3-21E8207741D7}" type="pres">
      <dgm:prSet presAssocID="{75F24368-19AA-4E08-A965-D6BE40FF5700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0EE38DDA-E9A2-4CD6-9270-16CDA2FE7EB2}" type="pres">
      <dgm:prSet presAssocID="{75F24368-19AA-4E08-A965-D6BE40FF5700}" presName="negativeSpace" presStyleCnt="0"/>
      <dgm:spPr/>
    </dgm:pt>
    <dgm:pt modelId="{EF225307-4A92-496E-BF95-1202079549D4}" type="pres">
      <dgm:prSet presAssocID="{75F24368-19AA-4E08-A965-D6BE40FF5700}" presName="childText" presStyleLbl="conFgAcc1" presStyleIdx="1" presStyleCnt="2" custLinFactNeighborX="1616" custLinFactNeighborY="39750">
        <dgm:presLayoutVars>
          <dgm:bulletEnabled val="1"/>
        </dgm:presLayoutVars>
      </dgm:prSet>
      <dgm:spPr/>
    </dgm:pt>
  </dgm:ptLst>
  <dgm:cxnLst>
    <dgm:cxn modelId="{80100E19-F62D-49C5-B925-0CDBACCD7979}" srcId="{CFA8CFBE-9896-46E5-8B97-A6E174662C3E}" destId="{F7DC6F08-CD0D-4EAE-9C2F-1407594AAD43}" srcOrd="0" destOrd="0" parTransId="{DFB7ECC8-D41E-4F50-8D1E-854A3B18234A}" sibTransId="{9BCF4F6E-A733-4951-9C04-984C90819924}"/>
    <dgm:cxn modelId="{F2724C28-3D96-4695-A2ED-53201A29E163}" srcId="{75F24368-19AA-4E08-A965-D6BE40FF5700}" destId="{37B5110B-7265-491C-BF92-0AE45AD49260}" srcOrd="0" destOrd="0" parTransId="{A06E233F-2822-4D55-A209-2CBB660B4A2F}" sibTransId="{F2653F63-9BC7-4E68-860B-A22FF908B125}"/>
    <dgm:cxn modelId="{2616035F-727F-433A-AD8A-E30FDA6054B1}" srcId="{CFA8CFBE-9896-46E5-8B97-A6E174662C3E}" destId="{75F24368-19AA-4E08-A965-D6BE40FF5700}" srcOrd="1" destOrd="0" parTransId="{C094FF7F-CF1A-40C4-8514-26326E0D8C13}" sibTransId="{E6B4EE5B-B259-4CEF-8BBB-AC9A56E712AB}"/>
    <dgm:cxn modelId="{81C4EF81-4EBC-4666-9D43-7A048BEAF2C6}" type="presOf" srcId="{F7DC6F08-CD0D-4EAE-9C2F-1407594AAD43}" destId="{AC263EE5-D0BA-49E3-86DA-1D3E27691FFA}" srcOrd="1" destOrd="0" presId="urn:microsoft.com/office/officeart/2005/8/layout/list1"/>
    <dgm:cxn modelId="{45FA1882-5C05-4C9C-ACCE-A2601E6851FB}" type="presOf" srcId="{75F24368-19AA-4E08-A965-D6BE40FF5700}" destId="{3CE5EC70-62B0-4658-9622-46E47C6183E3}" srcOrd="0" destOrd="0" presId="urn:microsoft.com/office/officeart/2005/8/layout/list1"/>
    <dgm:cxn modelId="{C31BDB89-5568-4177-AA0A-7ED2FE6A9255}" type="presOf" srcId="{CFA8CFBE-9896-46E5-8B97-A6E174662C3E}" destId="{651CC650-09FA-4DE3-8CB5-518B4626501C}" srcOrd="0" destOrd="0" presId="urn:microsoft.com/office/officeart/2005/8/layout/list1"/>
    <dgm:cxn modelId="{0AAB8698-8E7A-4660-905E-F03948C451F1}" type="presOf" srcId="{75F24368-19AA-4E08-A965-D6BE40FF5700}" destId="{DA66C5DC-26F7-4479-93C3-21E8207741D7}" srcOrd="1" destOrd="0" presId="urn:microsoft.com/office/officeart/2005/8/layout/list1"/>
    <dgm:cxn modelId="{C78536D3-DEFE-4B11-90FE-71DB2E2F3B92}" type="presOf" srcId="{37B5110B-7265-491C-BF92-0AE45AD49260}" destId="{EF225307-4A92-496E-BF95-1202079549D4}" srcOrd="0" destOrd="0" presId="urn:microsoft.com/office/officeart/2005/8/layout/list1"/>
    <dgm:cxn modelId="{6A7ED8F2-EE60-4AE9-B379-5B170BA4A04A}" type="presOf" srcId="{F7DC6F08-CD0D-4EAE-9C2F-1407594AAD43}" destId="{9CD74033-DE3B-4F49-85FC-CDD5993D3DBD}" srcOrd="0" destOrd="0" presId="urn:microsoft.com/office/officeart/2005/8/layout/list1"/>
    <dgm:cxn modelId="{FD9957F5-04C9-4A78-BFE7-9A9D8561A579}" type="presOf" srcId="{A5374639-C75B-4B79-A111-A317D5043F6F}" destId="{2CD6833B-4E40-49E8-A37F-D18D5E2BFB90}" srcOrd="0" destOrd="0" presId="urn:microsoft.com/office/officeart/2005/8/layout/list1"/>
    <dgm:cxn modelId="{90CDB1F6-1D27-4F75-84A2-499E07C1A5D6}" srcId="{F7DC6F08-CD0D-4EAE-9C2F-1407594AAD43}" destId="{A5374639-C75B-4B79-A111-A317D5043F6F}" srcOrd="0" destOrd="0" parTransId="{BA950187-2715-4247-A6CA-8DDC1FF23830}" sibTransId="{FA68C8AA-5FFE-4183-A9E4-63E1DBE19C4F}"/>
    <dgm:cxn modelId="{7781149C-D0DF-4ACC-B4AA-CEDA7B844733}" type="presParOf" srcId="{651CC650-09FA-4DE3-8CB5-518B4626501C}" destId="{F35EDC76-3B17-469C-9AAB-8723EC93D03B}" srcOrd="0" destOrd="0" presId="urn:microsoft.com/office/officeart/2005/8/layout/list1"/>
    <dgm:cxn modelId="{1CB4EFC0-F798-4BD2-ABF5-70B0D9140A9F}" type="presParOf" srcId="{F35EDC76-3B17-469C-9AAB-8723EC93D03B}" destId="{9CD74033-DE3B-4F49-85FC-CDD5993D3DBD}" srcOrd="0" destOrd="0" presId="urn:microsoft.com/office/officeart/2005/8/layout/list1"/>
    <dgm:cxn modelId="{9AA4F5F6-F72F-44A2-95F3-E86837E487D6}" type="presParOf" srcId="{F35EDC76-3B17-469C-9AAB-8723EC93D03B}" destId="{AC263EE5-D0BA-49E3-86DA-1D3E27691FFA}" srcOrd="1" destOrd="0" presId="urn:microsoft.com/office/officeart/2005/8/layout/list1"/>
    <dgm:cxn modelId="{431AC33D-F3CA-4CEB-80A3-1FE0EC5DEDB8}" type="presParOf" srcId="{651CC650-09FA-4DE3-8CB5-518B4626501C}" destId="{835E469A-042A-41EA-9CCB-075A2BB13D5E}" srcOrd="1" destOrd="0" presId="urn:microsoft.com/office/officeart/2005/8/layout/list1"/>
    <dgm:cxn modelId="{E60A8F73-5819-4A49-B142-DB5CD593EEDA}" type="presParOf" srcId="{651CC650-09FA-4DE3-8CB5-518B4626501C}" destId="{2CD6833B-4E40-49E8-A37F-D18D5E2BFB90}" srcOrd="2" destOrd="0" presId="urn:microsoft.com/office/officeart/2005/8/layout/list1"/>
    <dgm:cxn modelId="{9CC4EED2-B1B3-477A-B872-81A873F18B52}" type="presParOf" srcId="{651CC650-09FA-4DE3-8CB5-518B4626501C}" destId="{7A1C39CC-1D9F-4B69-A6B6-689389E97A6C}" srcOrd="3" destOrd="0" presId="urn:microsoft.com/office/officeart/2005/8/layout/list1"/>
    <dgm:cxn modelId="{4EB8539B-FE50-4BB7-8B38-2405E5334DE2}" type="presParOf" srcId="{651CC650-09FA-4DE3-8CB5-518B4626501C}" destId="{11528E79-A174-40C6-9822-2983083677C7}" srcOrd="4" destOrd="0" presId="urn:microsoft.com/office/officeart/2005/8/layout/list1"/>
    <dgm:cxn modelId="{EE44FBE0-5ECD-40E4-8473-8B1B950D7EE1}" type="presParOf" srcId="{11528E79-A174-40C6-9822-2983083677C7}" destId="{3CE5EC70-62B0-4658-9622-46E47C6183E3}" srcOrd="0" destOrd="0" presId="urn:microsoft.com/office/officeart/2005/8/layout/list1"/>
    <dgm:cxn modelId="{BC5560F6-6A1A-478B-8745-1CE50D61AC25}" type="presParOf" srcId="{11528E79-A174-40C6-9822-2983083677C7}" destId="{DA66C5DC-26F7-4479-93C3-21E8207741D7}" srcOrd="1" destOrd="0" presId="urn:microsoft.com/office/officeart/2005/8/layout/list1"/>
    <dgm:cxn modelId="{1D703DD4-2059-4769-A566-3703586E6BC4}" type="presParOf" srcId="{651CC650-09FA-4DE3-8CB5-518B4626501C}" destId="{0EE38DDA-E9A2-4CD6-9270-16CDA2FE7EB2}" srcOrd="5" destOrd="0" presId="urn:microsoft.com/office/officeart/2005/8/layout/list1"/>
    <dgm:cxn modelId="{BA0B8355-A97B-4FA6-9ED8-16288026730B}" type="presParOf" srcId="{651CC650-09FA-4DE3-8CB5-518B4626501C}" destId="{EF225307-4A92-496E-BF95-1202079549D4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1930E4-B1B5-4AF9-B270-D94FAFFF80CD}">
      <dsp:nvSpPr>
        <dsp:cNvPr id="0" name=""/>
        <dsp:cNvSpPr/>
      </dsp:nvSpPr>
      <dsp:spPr>
        <a:xfrm>
          <a:off x="2571" y="868520"/>
          <a:ext cx="2507456" cy="1002982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400" kern="1200" dirty="0"/>
            <a:t>Equipo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400" kern="1200" dirty="0"/>
            <a:t> </a:t>
          </a:r>
        </a:p>
      </dsp:txBody>
      <dsp:txXfrm>
        <a:off x="2571" y="868520"/>
        <a:ext cx="2507456" cy="1002982"/>
      </dsp:txXfrm>
    </dsp:sp>
    <dsp:sp modelId="{03CE8629-EAE6-45EA-8404-6C63B8F65E84}">
      <dsp:nvSpPr>
        <dsp:cNvPr id="0" name=""/>
        <dsp:cNvSpPr/>
      </dsp:nvSpPr>
      <dsp:spPr>
        <a:xfrm>
          <a:off x="2571" y="1871502"/>
          <a:ext cx="2507456" cy="22399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200" kern="1200" dirty="0"/>
            <a:t>Se cuenta con 4 desarrolladores y 2 analistas de certificación, Se cuenta con un artefacto de automatización el cual cubre el 6% de las pruebas funcionales (E2E).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200" kern="1200" dirty="0"/>
            <a:t>No se ha efectuado la integración del artefacto de automatización al RM del Pipeline de </a:t>
          </a:r>
          <a:r>
            <a:rPr lang="es-CO" sz="1200" kern="1200" dirty="0" err="1"/>
            <a:t>DevOps</a:t>
          </a:r>
          <a:r>
            <a:rPr lang="es-CO" sz="1200" kern="1200" dirty="0"/>
            <a:t>.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200" kern="1200" dirty="0"/>
            <a:t>Los analistas de certificación de la célula cubren las tareas tanto de automatizar como de ejecución de pruebas manuales y gestión.</a:t>
          </a:r>
        </a:p>
      </dsp:txBody>
      <dsp:txXfrm>
        <a:off x="2571" y="1871502"/>
        <a:ext cx="2507456" cy="2239920"/>
      </dsp:txXfrm>
    </dsp:sp>
    <dsp:sp modelId="{036C6C83-A770-4290-8594-DAD04EE94EE3}">
      <dsp:nvSpPr>
        <dsp:cNvPr id="0" name=""/>
        <dsp:cNvSpPr/>
      </dsp:nvSpPr>
      <dsp:spPr>
        <a:xfrm>
          <a:off x="2861071" y="868520"/>
          <a:ext cx="2507456" cy="1002982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kern="1200" dirty="0"/>
            <a:t>Desarrollos Actuales</a:t>
          </a:r>
        </a:p>
      </dsp:txBody>
      <dsp:txXfrm>
        <a:off x="2861071" y="868520"/>
        <a:ext cx="2507456" cy="1002982"/>
      </dsp:txXfrm>
    </dsp:sp>
    <dsp:sp modelId="{E2A9E1D2-D6A2-4DDB-B2FC-1B1E8448D4F6}">
      <dsp:nvSpPr>
        <dsp:cNvPr id="0" name=""/>
        <dsp:cNvSpPr/>
      </dsp:nvSpPr>
      <dsp:spPr>
        <a:xfrm>
          <a:off x="2861071" y="1871502"/>
          <a:ext cx="2507456" cy="22399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200" kern="1200" dirty="0"/>
            <a:t>Carga de Archivos.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200" kern="1200" dirty="0"/>
            <a:t>Autenticación.</a:t>
          </a: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200" kern="1200" dirty="0"/>
            <a:t>Validación de Lotes</a:t>
          </a: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200" kern="1200" dirty="0"/>
            <a:t>Procesamiento de Lotes</a:t>
          </a: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200" kern="1200" dirty="0"/>
            <a:t>Doble Factor de Autenticación.</a:t>
          </a: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200" kern="1200" dirty="0"/>
            <a:t>Consulta de Lotes</a:t>
          </a: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200" kern="1200" dirty="0"/>
            <a:t>Extracción de Lotes</a:t>
          </a:r>
          <a:endParaRPr lang="es-CO" sz="1200" kern="1200" dirty="0"/>
        </a:p>
      </dsp:txBody>
      <dsp:txXfrm>
        <a:off x="2861071" y="1871502"/>
        <a:ext cx="2507456" cy="2239920"/>
      </dsp:txXfrm>
    </dsp:sp>
    <dsp:sp modelId="{2306F283-970B-45A9-9E20-4478A2AC5D4D}">
      <dsp:nvSpPr>
        <dsp:cNvPr id="0" name=""/>
        <dsp:cNvSpPr/>
      </dsp:nvSpPr>
      <dsp:spPr>
        <a:xfrm>
          <a:off x="5719571" y="868520"/>
          <a:ext cx="2507456" cy="1002982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400" kern="1200" dirty="0"/>
            <a:t>Avances</a:t>
          </a:r>
        </a:p>
      </dsp:txBody>
      <dsp:txXfrm>
        <a:off x="5719571" y="868520"/>
        <a:ext cx="2507456" cy="1002982"/>
      </dsp:txXfrm>
    </dsp:sp>
    <dsp:sp modelId="{00CE0A8D-DFD1-4477-9FF6-4AA0DD07A7EF}">
      <dsp:nvSpPr>
        <dsp:cNvPr id="0" name=""/>
        <dsp:cNvSpPr/>
      </dsp:nvSpPr>
      <dsp:spPr>
        <a:xfrm>
          <a:off x="5719571" y="1871502"/>
          <a:ext cx="2507456" cy="22399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200" kern="1200" dirty="0"/>
            <a:t>Se cuenta con 441 escenarios de pruebas manuales ejecutados exitosamente .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200" kern="1200" dirty="0"/>
            <a:t>Se cuenta con Automatización del canal con 5 flujos y 24 escenarios</a:t>
          </a:r>
        </a:p>
      </dsp:txBody>
      <dsp:txXfrm>
        <a:off x="5719571" y="1871502"/>
        <a:ext cx="2507456" cy="223992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D6833B-4E40-49E8-A37F-D18D5E2BFB90}">
      <dsp:nvSpPr>
        <dsp:cNvPr id="0" name=""/>
        <dsp:cNvSpPr/>
      </dsp:nvSpPr>
      <dsp:spPr>
        <a:xfrm>
          <a:off x="0" y="1066848"/>
          <a:ext cx="8202666" cy="463163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6618" tIns="1083056" rIns="636618" bIns="170688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2400" kern="1200" dirty="0"/>
            <a:t>Las funcionalidades criticas que tiene el canal de contingencia BLE.</a:t>
          </a:r>
          <a:endParaRPr lang="es-CO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2400" kern="1200" dirty="0"/>
            <a:t>Autenticación</a:t>
          </a:r>
          <a:endParaRPr lang="es-CO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2400" kern="1200" dirty="0"/>
            <a:t>Validación Lotes</a:t>
          </a:r>
          <a:endParaRPr lang="es-CO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2400" kern="1200" dirty="0"/>
            <a:t>Procesamiento Lotes</a:t>
          </a:r>
          <a:endParaRPr lang="es-CO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2400" kern="1200" dirty="0"/>
            <a:t>Doble Factor de Autenticación</a:t>
          </a:r>
          <a:endParaRPr lang="es-CO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2400" kern="1200" dirty="0"/>
            <a:t>Consulta de Lotes</a:t>
          </a:r>
          <a:endParaRPr lang="es-CO" sz="2400" kern="1200" dirty="0"/>
        </a:p>
        <a:p>
          <a:pPr marL="228600" lvl="1" indent="-228600" algn="just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CO" sz="24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CO" sz="2200" kern="1200" dirty="0"/>
        </a:p>
      </dsp:txBody>
      <dsp:txXfrm>
        <a:off x="0" y="1066848"/>
        <a:ext cx="8202666" cy="4631636"/>
      </dsp:txXfrm>
    </dsp:sp>
    <dsp:sp modelId="{AC263EE5-D0BA-49E3-86DA-1D3E27691FFA}">
      <dsp:nvSpPr>
        <dsp:cNvPr id="0" name=""/>
        <dsp:cNvSpPr/>
      </dsp:nvSpPr>
      <dsp:spPr>
        <a:xfrm>
          <a:off x="476394" y="0"/>
          <a:ext cx="5741866" cy="181236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029" tIns="0" rIns="217029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400" kern="1200" dirty="0"/>
            <a:t>¿Qué pruebas vamos a automatizar?</a:t>
          </a:r>
        </a:p>
      </dsp:txBody>
      <dsp:txXfrm>
        <a:off x="564866" y="88472"/>
        <a:ext cx="5564922" cy="163542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D6833B-4E40-49E8-A37F-D18D5E2BFB90}">
      <dsp:nvSpPr>
        <dsp:cNvPr id="0" name=""/>
        <dsp:cNvSpPr/>
      </dsp:nvSpPr>
      <dsp:spPr>
        <a:xfrm>
          <a:off x="0" y="620183"/>
          <a:ext cx="8202666" cy="1382062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6618" tIns="812292" rIns="636618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6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Se utiliza el patrón de diseño </a:t>
          </a:r>
          <a:r>
            <a:rPr lang="es-CO" sz="1600" kern="1200" dirty="0" err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Screenplay</a:t>
          </a:r>
          <a:r>
            <a:rPr lang="es-CO" sz="16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+ </a:t>
          </a:r>
          <a:r>
            <a:rPr lang="es-CO" sz="1600" kern="1200" dirty="0" err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Serenity</a:t>
          </a:r>
          <a:r>
            <a:rPr lang="es-CO" sz="16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con </a:t>
          </a:r>
          <a:r>
            <a:rPr lang="es-CO" sz="1600" kern="1200" dirty="0" err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Cucumber</a:t>
          </a:r>
          <a:r>
            <a:rPr lang="es-CO" sz="16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y </a:t>
          </a:r>
          <a:r>
            <a:rPr lang="es-CO" sz="1600" kern="1200" dirty="0" err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Gradle</a:t>
          </a:r>
          <a:r>
            <a:rPr lang="es-CO" sz="12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.</a:t>
          </a:r>
          <a:endParaRPr lang="es-CO" sz="1200" kern="1200" dirty="0">
            <a:highlight>
              <a:srgbClr val="FFFF00"/>
            </a:highlight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0" y="620183"/>
        <a:ext cx="8202666" cy="1382062"/>
      </dsp:txXfrm>
    </dsp:sp>
    <dsp:sp modelId="{AC263EE5-D0BA-49E3-86DA-1D3E27691FFA}">
      <dsp:nvSpPr>
        <dsp:cNvPr id="0" name=""/>
        <dsp:cNvSpPr/>
      </dsp:nvSpPr>
      <dsp:spPr>
        <a:xfrm>
          <a:off x="410133" y="44543"/>
          <a:ext cx="5741866" cy="1151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029" tIns="0" rIns="217029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6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Realizar transacción completa producto.</a:t>
          </a:r>
        </a:p>
      </dsp:txBody>
      <dsp:txXfrm>
        <a:off x="466334" y="100744"/>
        <a:ext cx="5629464" cy="1038878"/>
      </dsp:txXfrm>
    </dsp:sp>
    <dsp:sp modelId="{EF225307-4A92-496E-BF95-1202079549D4}">
      <dsp:nvSpPr>
        <dsp:cNvPr id="0" name=""/>
        <dsp:cNvSpPr/>
      </dsp:nvSpPr>
      <dsp:spPr>
        <a:xfrm>
          <a:off x="0" y="2833030"/>
          <a:ext cx="8202666" cy="1382062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6618" tIns="812292" rIns="636618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600" i="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Se realizaran pruebas E2E para cada tipo de transacción sea: Planilla, Transferencias Internacionales y Terceros Banistmo &amp; ACH</a:t>
          </a:r>
        </a:p>
      </dsp:txBody>
      <dsp:txXfrm>
        <a:off x="0" y="2833030"/>
        <a:ext cx="8202666" cy="1382062"/>
      </dsp:txXfrm>
    </dsp:sp>
    <dsp:sp modelId="{DA66C5DC-26F7-4479-93C3-21E8207741D7}">
      <dsp:nvSpPr>
        <dsp:cNvPr id="0" name=""/>
        <dsp:cNvSpPr/>
      </dsp:nvSpPr>
      <dsp:spPr>
        <a:xfrm>
          <a:off x="410133" y="2212846"/>
          <a:ext cx="5741866" cy="1151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029" tIns="0" rIns="217029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600" i="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Validar flujo completo de cada transacción</a:t>
          </a:r>
        </a:p>
      </dsp:txBody>
      <dsp:txXfrm>
        <a:off x="466334" y="2269047"/>
        <a:ext cx="5629464" cy="10388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E56148-2297-4C44-BC06-4FC35B75671B}" type="datetimeFigureOut">
              <a:rPr lang="es-CO" smtClean="0"/>
              <a:pPr/>
              <a:t>27/05/2021</a:t>
            </a:fld>
            <a:endParaRPr lang="es-CO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D18E45-2647-49FB-B426-88334B34A649}" type="slidenum">
              <a:rPr lang="es-CO" smtClean="0"/>
              <a:pPr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6847508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0183A9-D1F7-458A-AFA9-064316B428F0}" type="datetimeFigureOut">
              <a:rPr lang="es-CO" smtClean="0"/>
              <a:pPr/>
              <a:t>27/05/2021</a:t>
            </a:fld>
            <a:endParaRPr lang="es-CO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011512-64D6-4395-B818-B85718CEE8D5}" type="slidenum">
              <a:rPr lang="es-CO" smtClean="0"/>
              <a:pPr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5692370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s-CO" sz="1400" b="1" u="sng" dirty="0"/>
              <a:t>Tipos</a:t>
            </a:r>
            <a:r>
              <a:rPr lang="es-CO" sz="1400" b="1" u="sng" baseline="0" dirty="0"/>
              <a:t> de Pruebas (Según Objetivo)</a:t>
            </a:r>
          </a:p>
          <a:p>
            <a:r>
              <a:rPr lang="es-CO" b="0" baseline="0" dirty="0"/>
              <a:t>De acuerdo al objetivo de las pruebas dos tipos de pruebas</a:t>
            </a:r>
          </a:p>
          <a:p>
            <a:endParaRPr lang="es-CO" b="0" baseline="0" dirty="0"/>
          </a:p>
          <a:p>
            <a:r>
              <a:rPr lang="es-CO" b="0" baseline="0" dirty="0"/>
              <a:t>-Pruebas Funcionales:  Qué debe hacer el sistema?</a:t>
            </a:r>
          </a:p>
          <a:p>
            <a:r>
              <a:rPr lang="es-CO" b="0" baseline="0" dirty="0"/>
              <a:t>-Pruebas No Funcionales (Técnicas): Cómo lo debe hacer el sistema? (desempeño, escalabilidad, seguridad, disponibilidad, usabilidad, portabilidad)</a:t>
            </a:r>
          </a:p>
          <a:p>
            <a:endParaRPr lang="es-CO" b="0" baseline="0" dirty="0"/>
          </a:p>
          <a:p>
            <a:r>
              <a:rPr lang="es-CO" b="0" baseline="0" dirty="0"/>
              <a:t>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400" b="1" u="sng" dirty="0"/>
              <a:t>Tipos</a:t>
            </a:r>
            <a:r>
              <a:rPr lang="es-CO" sz="1400" b="1" u="sng" baseline="0" dirty="0"/>
              <a:t> de Pruebas (Según Forma Ejecución)</a:t>
            </a:r>
          </a:p>
          <a:p>
            <a:r>
              <a:rPr lang="es-CO" b="1" baseline="0" dirty="0"/>
              <a:t>Pruebas Manuales</a:t>
            </a:r>
            <a:r>
              <a:rPr lang="es-CO" b="0" baseline="0" dirty="0"/>
              <a:t>: Las pruebas son ejecutadas directamente por el tester, ejecutando cada uno de los pasos necesarios. </a:t>
            </a:r>
          </a:p>
          <a:p>
            <a:r>
              <a:rPr lang="es-CO" b="1" baseline="0" dirty="0"/>
              <a:t>Pruebas automáticas</a:t>
            </a:r>
            <a:r>
              <a:rPr lang="es-CO" b="0" baseline="0" dirty="0"/>
              <a:t>: Las pruebas son ejecutadas de forma automática por un robot (Programa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b="0" baseline="0" dirty="0"/>
              <a:t>Cuando se realiza en las condiciones adecuadas, reduce costos, ahorra tiempo, puede tener una mayor cobertura del alcance y puede ser utilizado tanto por desarrolladores como por </a:t>
            </a:r>
            <a:r>
              <a:rPr lang="es-CO" b="0" baseline="0" dirty="0" err="1"/>
              <a:t>testers</a:t>
            </a:r>
            <a:r>
              <a:rPr lang="es-CO" b="0" baseline="0" dirty="0"/>
              <a:t>.</a:t>
            </a:r>
          </a:p>
          <a:p>
            <a:endParaRPr lang="es-CO" b="0" baseline="0" dirty="0"/>
          </a:p>
          <a:p>
            <a:endParaRPr lang="es-CO" b="0" baseline="0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400" b="1" u="sng" dirty="0"/>
              <a:t>Tipos</a:t>
            </a:r>
            <a:r>
              <a:rPr lang="es-CO" sz="1400" b="1" u="sng" baseline="0" dirty="0"/>
              <a:t> de Pruebas (Según Enfoque)</a:t>
            </a:r>
          </a:p>
          <a:p>
            <a:r>
              <a:rPr lang="es-CO" b="1" baseline="0" dirty="0"/>
              <a:t>Caja Blanca</a:t>
            </a:r>
            <a:r>
              <a:rPr lang="es-CO" b="0" baseline="0" dirty="0"/>
              <a:t>: Las pruebas son diseñadas </a:t>
            </a:r>
            <a:r>
              <a:rPr lang="es-CO" dirty="0"/>
              <a:t>accediendo al código fuente de la aplicación</a:t>
            </a:r>
            <a:r>
              <a:rPr lang="es-CO" baseline="0" dirty="0"/>
              <a:t> (estructuras de programación y de datos)</a:t>
            </a:r>
            <a:r>
              <a:rPr lang="es-CO" dirty="0"/>
              <a:t>.  La implementación de este tipo de pruebas requiere habilidades de programación, un conocimiento del framework de desarrollo y un cierto conocimiento funcional.</a:t>
            </a:r>
          </a:p>
          <a:p>
            <a:r>
              <a:rPr lang="es-CO" b="1" dirty="0"/>
              <a:t>Caja Negra: </a:t>
            </a:r>
            <a:r>
              <a:rPr lang="es-CO" b="0" dirty="0"/>
              <a:t>Las</a:t>
            </a:r>
            <a:r>
              <a:rPr lang="es-CO" b="0" baseline="0" dirty="0"/>
              <a:t> pruebas son diseñadas de acuerdo a los requisitos funcionales de alto nivel, sin necesidad de acceder al código fuente.   Las pruebas se hacen teniendo en cuenta la información de entrada y de salida del sistema. </a:t>
            </a:r>
            <a:br>
              <a:rPr lang="es-CO" b="1" dirty="0"/>
            </a:br>
            <a:endParaRPr lang="es-CO" b="0" baseline="0" dirty="0"/>
          </a:p>
          <a:p>
            <a:endParaRPr lang="es-CO" b="0" baseline="0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200" b="1" u="sng" dirty="0"/>
              <a:t>Pruebas Exploratoria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b="0" baseline="0" dirty="0"/>
              <a:t>Mientras se está probando el software, el tester va aprendiendo a manejar el sistema y junto con su experiencia y creatividad, genera nuevas pruebas a ejecutar. el aprendizaje, el diseño y la ejecución de las pruebas se realizan de forma simultánea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O" sz="1200" b="0" u="sng" baseline="0" dirty="0"/>
          </a:p>
          <a:p>
            <a:endParaRPr lang="es-CO" b="0" baseline="0" dirty="0"/>
          </a:p>
          <a:p>
            <a:endParaRPr lang="es-CO" b="0" baseline="0" dirty="0"/>
          </a:p>
          <a:p>
            <a:endParaRPr lang="es-CO" b="0" dirty="0"/>
          </a:p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011512-64D6-4395-B818-B85718CEE8D5}" type="slidenum">
              <a:rPr lang="es-CO" smtClean="0">
                <a:solidFill>
                  <a:prstClr val="black"/>
                </a:solidFill>
              </a:rPr>
              <a:pPr/>
              <a:t>2</a:t>
            </a:fld>
            <a:endParaRPr lang="es-C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6371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O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 tiene link al video donde se explican 5</a:t>
            </a:r>
            <a:r>
              <a:rPr lang="es-CO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 los errores más costosos en la historia del desarrollo de Software. </a:t>
            </a:r>
          </a:p>
          <a:p>
            <a:endParaRPr lang="es-CO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CO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forzar la importancia que tienen las pruebas en la organización, y que la calidad no es de una de las etapas del desarrollo de software, sino que es una preocupación constante desde el inicio hasta el fin del proceso. </a:t>
            </a:r>
          </a:p>
          <a:p>
            <a:endParaRPr lang="es-CO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s-CO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011512-64D6-4395-B818-B85718CEE8D5}" type="slidenum">
              <a:rPr lang="es-CO" smtClean="0">
                <a:solidFill>
                  <a:prstClr val="black"/>
                </a:solidFill>
              </a:rPr>
              <a:pPr/>
              <a:t>3</a:t>
            </a:fld>
            <a:endParaRPr lang="es-C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2604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s-CO" sz="1400" b="1" u="sng" dirty="0"/>
              <a:t>Tipos</a:t>
            </a:r>
            <a:r>
              <a:rPr lang="es-CO" sz="1400" b="1" u="sng" baseline="0" dirty="0"/>
              <a:t> de Pruebas (Según Objetivo)</a:t>
            </a:r>
          </a:p>
          <a:p>
            <a:r>
              <a:rPr lang="es-CO" b="0" baseline="0" dirty="0"/>
              <a:t>De acuerdo al objetivo de las pruebas dos tipos de pruebas</a:t>
            </a:r>
          </a:p>
          <a:p>
            <a:endParaRPr lang="es-CO" b="0" baseline="0" dirty="0"/>
          </a:p>
          <a:p>
            <a:r>
              <a:rPr lang="es-CO" b="0" baseline="0" dirty="0"/>
              <a:t>-Pruebas Funcionales:  Qué debe hacer el sistema?</a:t>
            </a:r>
          </a:p>
          <a:p>
            <a:r>
              <a:rPr lang="es-CO" b="0" baseline="0" dirty="0"/>
              <a:t>-Pruebas No Funcionales (Técnicas): Cómo lo debe hacer el sistema? (desempeño, escalabilidad, seguridad, disponibilidad, usabilidad, portabilidad)</a:t>
            </a:r>
          </a:p>
          <a:p>
            <a:endParaRPr lang="es-CO" b="0" baseline="0" dirty="0"/>
          </a:p>
          <a:p>
            <a:r>
              <a:rPr lang="es-CO" b="0" baseline="0" dirty="0"/>
              <a:t>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400" b="1" u="sng" dirty="0"/>
              <a:t>Tipos</a:t>
            </a:r>
            <a:r>
              <a:rPr lang="es-CO" sz="1400" b="1" u="sng" baseline="0" dirty="0"/>
              <a:t> de Pruebas (Según Forma Ejecución)</a:t>
            </a:r>
          </a:p>
          <a:p>
            <a:r>
              <a:rPr lang="es-CO" b="1" baseline="0" dirty="0"/>
              <a:t>Pruebas Manuales</a:t>
            </a:r>
            <a:r>
              <a:rPr lang="es-CO" b="0" baseline="0" dirty="0"/>
              <a:t>: Las pruebas son ejecutadas directamente por el tester, ejecutando cada uno de los pasos necesarios. </a:t>
            </a:r>
          </a:p>
          <a:p>
            <a:r>
              <a:rPr lang="es-CO" b="1" baseline="0" dirty="0"/>
              <a:t>Pruebas automáticas</a:t>
            </a:r>
            <a:r>
              <a:rPr lang="es-CO" b="0" baseline="0" dirty="0"/>
              <a:t>: Las pruebas son ejecutadas de forma automática por un robot (Programa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b="0" baseline="0" dirty="0"/>
              <a:t>Cuando se realiza en las condiciones adecuadas, reduce costos, ahorra tiempo, puede tener una mayor cobertura del alcance y puede ser utilizado tanto por desarrolladores como por </a:t>
            </a:r>
            <a:r>
              <a:rPr lang="es-CO" b="0" baseline="0" dirty="0" err="1"/>
              <a:t>testers</a:t>
            </a:r>
            <a:r>
              <a:rPr lang="es-CO" b="0" baseline="0" dirty="0"/>
              <a:t>.</a:t>
            </a:r>
          </a:p>
          <a:p>
            <a:endParaRPr lang="es-CO" b="0" baseline="0" dirty="0"/>
          </a:p>
          <a:p>
            <a:endParaRPr lang="es-CO" b="0" baseline="0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400" b="1" u="sng" dirty="0"/>
              <a:t>Tipos</a:t>
            </a:r>
            <a:r>
              <a:rPr lang="es-CO" sz="1400" b="1" u="sng" baseline="0" dirty="0"/>
              <a:t> de Pruebas (Según Enfoque)</a:t>
            </a:r>
          </a:p>
          <a:p>
            <a:r>
              <a:rPr lang="es-CO" b="1" baseline="0" dirty="0"/>
              <a:t>Caja Blanca</a:t>
            </a:r>
            <a:r>
              <a:rPr lang="es-CO" b="0" baseline="0" dirty="0"/>
              <a:t>: Las pruebas son diseñadas </a:t>
            </a:r>
            <a:r>
              <a:rPr lang="es-CO" dirty="0"/>
              <a:t>accediendo al código fuente de la aplicación</a:t>
            </a:r>
            <a:r>
              <a:rPr lang="es-CO" baseline="0" dirty="0"/>
              <a:t> (estructuras de programación y de datos)</a:t>
            </a:r>
            <a:r>
              <a:rPr lang="es-CO" dirty="0"/>
              <a:t>.  La implementación de este tipo de pruebas requiere habilidades de programación, un conocimiento del framework de desarrollo y un cierto conocimiento funcional.</a:t>
            </a:r>
          </a:p>
          <a:p>
            <a:r>
              <a:rPr lang="es-CO" b="1" dirty="0"/>
              <a:t>Caja Negra: </a:t>
            </a:r>
            <a:r>
              <a:rPr lang="es-CO" b="0" dirty="0"/>
              <a:t>Las</a:t>
            </a:r>
            <a:r>
              <a:rPr lang="es-CO" b="0" baseline="0" dirty="0"/>
              <a:t> pruebas son diseñadas de acuerdo a los requisitos funcionales de alto nivel, sin necesidad de acceder al código fuente.   Las pruebas se hacen teniendo en cuenta la información de entrada y de salida del sistema. </a:t>
            </a:r>
            <a:br>
              <a:rPr lang="es-CO" b="1" dirty="0"/>
            </a:br>
            <a:endParaRPr lang="es-CO" b="0" baseline="0" dirty="0"/>
          </a:p>
          <a:p>
            <a:endParaRPr lang="es-CO" b="0" baseline="0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200" b="1" u="sng" dirty="0"/>
              <a:t>Pruebas Exploratoria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b="0" baseline="0" dirty="0"/>
              <a:t>Mientras se está probando el software, el tester va aprendiendo a manejar el sistema y junto con su experiencia y creatividad, genera nuevas pruebas a ejecutar. el aprendizaje, el diseño y la ejecución de las pruebas se realizan de forma simultánea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O" sz="1200" b="0" u="sng" baseline="0" dirty="0"/>
          </a:p>
          <a:p>
            <a:endParaRPr lang="es-CO" b="0" baseline="0" dirty="0"/>
          </a:p>
          <a:p>
            <a:endParaRPr lang="es-CO" b="0" baseline="0" dirty="0"/>
          </a:p>
          <a:p>
            <a:endParaRPr lang="es-CO" b="0" dirty="0"/>
          </a:p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011512-64D6-4395-B818-B85718CEE8D5}" type="slidenum">
              <a:rPr lang="es-CO" smtClean="0">
                <a:solidFill>
                  <a:prstClr val="black"/>
                </a:solidFill>
              </a:rPr>
              <a:pPr/>
              <a:t>4</a:t>
            </a:fld>
            <a:endParaRPr lang="es-C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2979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image" Target="../media/image5.emf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image" Target="../media/image2.emf"/><Relationship Id="rId5" Type="http://schemas.openxmlformats.org/officeDocument/2006/relationships/tags" Target="../tags/tag17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6.xml"/><Relationship Id="rId9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5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38659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5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3223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5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4732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Portada Bancolombia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6859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5" y="349865"/>
            <a:ext cx="1004301" cy="13929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795" y="508600"/>
            <a:ext cx="2840521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000000"/>
                </a:solidFill>
              </a:rPr>
              <a:t>Working Draft - Last Modified 10/08/2012 09:37:16 a.m.</a:t>
            </a:r>
            <a:endParaRPr lang="es-ES" sz="900" dirty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5" y="668956"/>
            <a:ext cx="2878993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000000"/>
                </a:solidFill>
              </a:rPr>
              <a:t>Printed 4/30/2012 6:49:54 PM SA Pacific Standard Time</a:t>
            </a:r>
            <a:endParaRPr lang="es-ES" sz="900" dirty="0">
              <a:solidFill>
                <a:srgbClr val="000000"/>
              </a:solidFill>
            </a:endParaRPr>
          </a:p>
        </p:txBody>
      </p:sp>
      <p:grpSp>
        <p:nvGrpSpPr>
          <p:cNvPr id="9" name="McK Title Elements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0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8"/>
              <a:ext cx="3109" cy="134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400" dirty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11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4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400" dirty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1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s-ES" sz="800" dirty="0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s-ES" sz="800" dirty="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s-CO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s-CO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Rectangle 15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s-CO" sz="16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doc id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dirty="0">
              <a:solidFill>
                <a:srgbClr val="000000"/>
              </a:solidFill>
            </a:endParaRPr>
          </a:p>
        </p:txBody>
      </p:sp>
      <p:sp>
        <p:nvSpPr>
          <p:cNvPr id="8499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735911" y="4162745"/>
            <a:ext cx="5036084" cy="507831"/>
          </a:xfrm>
        </p:spPr>
        <p:txBody>
          <a:bodyPr/>
          <a:lstStyle>
            <a:lvl1pPr>
              <a:defRPr sz="3300" b="0"/>
            </a:lvl1pPr>
          </a:lstStyle>
          <a:p>
            <a:r>
              <a:rPr lang="es-ES"/>
              <a:t>Click to edit Master title</a:t>
            </a:r>
          </a:p>
        </p:txBody>
      </p:sp>
      <p:sp>
        <p:nvSpPr>
          <p:cNvPr id="8499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2735911" y="5024449"/>
            <a:ext cx="5036084" cy="217046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es-E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115941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6CC221-BBA7-44B4-81CC-CF03F2867E84}" type="slidenum">
              <a:rPr lang="es-ES"/>
              <a:pPr>
                <a:defRPr/>
              </a:pPr>
              <a:t>‹Nº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716114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449" y="4407327"/>
            <a:ext cx="7771995" cy="1892826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449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1AE679-4BF6-4455-B8BD-34F82BE19630}" type="slidenum">
              <a:rPr lang="es-ES"/>
              <a:pPr>
                <a:defRPr/>
              </a:pPr>
              <a:t>‹Nº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528674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1482155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3754791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942DE0-EA8C-43E1-AFCD-DF888A1FDE8A}" type="slidenum">
              <a:rPr lang="es-ES"/>
              <a:pPr>
                <a:defRPr/>
              </a:pPr>
              <a:t>‹Nº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754782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292388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6796" y="1535519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6796" y="2175318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703" y="1535519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0EC146-CDEB-43D7-81F4-69279C70EBD2}" type="slidenum">
              <a:rPr lang="es-ES"/>
              <a:pPr>
                <a:defRPr/>
              </a:pPr>
              <a:t>‹Nº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280506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8FCB83-39B7-48F2-82B8-BC6227131918}" type="slidenum">
              <a:rPr lang="es-ES"/>
              <a:pPr>
                <a:defRPr/>
              </a:pPr>
              <a:t>‹Nº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797322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B2026B-DC4C-48C0-AAD8-3AA5B4FCAB61}" type="slidenum">
              <a:rPr lang="es-ES"/>
              <a:pPr>
                <a:defRPr/>
              </a:pPr>
              <a:t>‹Nº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082815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6795" y="511765"/>
            <a:ext cx="3008044" cy="92333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A71445-0832-4256-B850-6DA650465490}" type="slidenum">
              <a:rPr lang="es-ES"/>
              <a:pPr>
                <a:defRPr/>
              </a:pPr>
              <a:t>‹Nº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577237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5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897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1544" y="4752282"/>
            <a:ext cx="5486400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pPr lvl="0"/>
            <a:endParaRPr lang="es-CO" noProof="0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F575EF-6AF4-4CC5-864D-9014F18B5D48}" type="slidenum">
              <a:rPr lang="es-ES"/>
              <a:pPr>
                <a:defRPr/>
              </a:pPr>
              <a:t>‹Nº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759714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F8C5B9-5A64-4F2A-AABB-23B5DAEE3127}" type="slidenum">
              <a:rPr lang="es-ES"/>
              <a:pPr>
                <a:defRPr/>
              </a:pPr>
              <a:t>‹Nº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020415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8038439" y="234864"/>
            <a:ext cx="877163" cy="3003007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121488" y="234864"/>
            <a:ext cx="6440486" cy="3003007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858A66-6D86-47C2-9D9F-C7BE5F497579}" type="slidenum">
              <a:rPr lang="es-ES"/>
              <a:pPr>
                <a:defRPr/>
              </a:pPr>
              <a:t>‹Nº›</a:t>
            </a:fld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156361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5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7879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5/2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518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5/27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5194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5/27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9226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5/27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0312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5/2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7020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9EDC0-E992-0149-B856-A2B4A61ACAC6}" type="datetimeFigureOut">
              <a:rPr lang="en-US" smtClean="0"/>
              <a:pPr/>
              <a:t>5/2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54F4C-DF28-AB49-8D00-445D59FBAE16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00131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tags" Target="../tags/tag5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49EDC0-E992-0149-B856-A2B4A61ACAC6}" type="datetimeFigureOut">
              <a:rPr lang="en-US" smtClean="0"/>
              <a:pPr/>
              <a:t>5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F54F4C-DF28-AB49-8D00-445D59FBAE16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677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" descr="Hoja Bancolombia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1" y="-1620"/>
            <a:ext cx="9143999" cy="6859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McK 2. Slide Title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121489" y="234864"/>
            <a:ext cx="8794113" cy="294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/>
              <a:t>Click to edit Master title style</a:t>
            </a:r>
          </a:p>
        </p:txBody>
      </p:sp>
      <p:sp>
        <p:nvSpPr>
          <p:cNvPr id="1029" name="SlideLogoText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232588" y="6566446"/>
            <a:ext cx="1269955" cy="155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s-ES" sz="1000" dirty="0">
                <a:solidFill>
                  <a:srgbClr val="000000"/>
                </a:solidFill>
              </a:rPr>
              <a:t>McKinsey &amp; Company</a:t>
            </a:r>
          </a:p>
        </p:txBody>
      </p:sp>
      <p:sp>
        <p:nvSpPr>
          <p:cNvPr id="1030" name="McK 1. On-page tracker" hidden="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21489" y="27537"/>
            <a:ext cx="868234" cy="21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E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1" name="McK 3. Unit of measure" hidden="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21489" y="542615"/>
            <a:ext cx="3730492" cy="21704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32" name="McK Slide Elements"/>
          <p:cNvGrpSpPr>
            <a:grpSpLocks/>
          </p:cNvGrpSpPr>
          <p:nvPr userDrawn="1"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04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000" dirty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1042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E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033" name="ACET" hidden="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039" name="AutoShape 12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40" name="AutoShape 13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83982" name="Rectangle 14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8719602" y="6566446"/>
            <a:ext cx="199240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23D61AB6-B8D3-450F-A0D0-50DAF1DC9F3E}" type="slidenum">
              <a:rPr lang="es-ES"/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r>
              <a:rPr lang="es-ES" dirty="0"/>
              <a:t> </a:t>
            </a:r>
          </a:p>
        </p:txBody>
      </p:sp>
      <p:sp>
        <p:nvSpPr>
          <p:cNvPr id="1035" name="Working Draft" hidden="1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 rot="5400000">
            <a:off x="8113029" y="2867756"/>
            <a:ext cx="1919397" cy="9395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</a:rPr>
              <a:t>Working Draft - Last Modified 10/08/2012 09:37:16 a.m.</a:t>
            </a:r>
            <a:endParaRPr lang="es-ES" dirty="0">
              <a:solidFill>
                <a:srgbClr val="000000"/>
              </a:solidFill>
            </a:endParaRPr>
          </a:p>
        </p:txBody>
      </p:sp>
      <p:sp>
        <p:nvSpPr>
          <p:cNvPr id="1036" name="Printed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5400000">
            <a:off x="8559766" y="3931118"/>
            <a:ext cx="1025922" cy="9233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600" dirty="0">
                <a:solidFill>
                  <a:srgbClr val="000000"/>
                </a:solidFill>
              </a:rPr>
              <a:t>Printed 6/25/2012 2:33:23 PM</a:t>
            </a:r>
            <a:endParaRPr lang="es-ES" dirty="0">
              <a:solidFill>
                <a:srgbClr val="000000"/>
              </a:solidFill>
            </a:endParaRPr>
          </a:p>
        </p:txBody>
      </p:sp>
      <p:sp>
        <p:nvSpPr>
          <p:cNvPr id="1037" name="Rectangle 17"/>
          <p:cNvSpPr>
            <a:spLocks noGrp="1" noChangeArrowheads="1"/>
          </p:cNvSpPr>
          <p:nvPr>
            <p:ph type="body" idx="1"/>
            <p:custDataLst>
              <p:tags r:id="rId23"/>
            </p:custDataLst>
          </p:nvPr>
        </p:nvSpPr>
        <p:spPr bwMode="auto">
          <a:xfrm>
            <a:off x="1482155" y="1990667"/>
            <a:ext cx="4389768" cy="1247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  <a:p>
            <a:pPr lvl="2"/>
            <a:r>
              <a:rPr lang="es-ES"/>
              <a:t>Third level</a:t>
            </a:r>
          </a:p>
          <a:p>
            <a:pPr lvl="3"/>
            <a:r>
              <a:rPr lang="es-ES"/>
              <a:t>Fourth level</a:t>
            </a:r>
          </a:p>
          <a:p>
            <a:pPr lvl="4"/>
            <a:r>
              <a:rPr lang="es-ES"/>
              <a:t>Fifth level</a:t>
            </a:r>
          </a:p>
        </p:txBody>
      </p:sp>
      <p:sp>
        <p:nvSpPr>
          <p:cNvPr id="1038" name="SlideLogoSeparator" hidden="1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8590015" y="6534052"/>
            <a:ext cx="40496" cy="186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s-ES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240560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91352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9861" indent="-349861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66481" indent="-267255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26835" indent="-158733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61271" indent="-132818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27752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94234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60715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27196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s-CO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s-CO"/>
          </a:p>
        </p:txBody>
      </p:sp>
      <p:pic>
        <p:nvPicPr>
          <p:cNvPr id="5" name="Picture 3" descr="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CuadroTexto 5"/>
          <p:cNvSpPr txBox="1"/>
          <p:nvPr/>
        </p:nvSpPr>
        <p:spPr>
          <a:xfrm>
            <a:off x="1133341" y="2640169"/>
            <a:ext cx="678716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b="1" dirty="0">
                <a:solidFill>
                  <a:schemeClr val="bg1"/>
                </a:solidFill>
                <a:latin typeface="+mj-lt"/>
              </a:rPr>
              <a:t>PLAN DE PRUEBAS </a:t>
            </a:r>
            <a:r>
              <a:rPr lang="es-CO" sz="2800" b="1" dirty="0">
                <a:solidFill>
                  <a:schemeClr val="bg1"/>
                </a:solidFill>
              </a:rPr>
              <a:t>PMO_Proy_248_Canal Contingencia BLE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3155398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4 CuadroTexto"/>
          <p:cNvSpPr txBox="1"/>
          <p:nvPr/>
        </p:nvSpPr>
        <p:spPr>
          <a:xfrm>
            <a:off x="72186" y="-1"/>
            <a:ext cx="44998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b="1" dirty="0">
                <a:solidFill>
                  <a:prstClr val="white"/>
                </a:solidFill>
              </a:rPr>
              <a:t>Situación actual certificación</a:t>
            </a:r>
          </a:p>
        </p:txBody>
      </p:sp>
      <p:graphicFrame>
        <p:nvGraphicFramePr>
          <p:cNvPr id="3" name="Marcador de contenido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90605924"/>
              </p:ext>
            </p:extLst>
          </p:nvPr>
        </p:nvGraphicFramePr>
        <p:xfrm>
          <a:off x="457200" y="1146220"/>
          <a:ext cx="8229600" cy="49799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04667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Marcador de conteni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66428593"/>
              </p:ext>
            </p:extLst>
          </p:nvPr>
        </p:nvGraphicFramePr>
        <p:xfrm>
          <a:off x="243503" y="702314"/>
          <a:ext cx="8202666" cy="56984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4 CuadroTexto"/>
          <p:cNvSpPr txBox="1"/>
          <p:nvPr/>
        </p:nvSpPr>
        <p:spPr>
          <a:xfrm>
            <a:off x="72186" y="-1"/>
            <a:ext cx="67791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b="1" dirty="0">
                <a:solidFill>
                  <a:prstClr val="white"/>
                </a:solidFill>
              </a:rPr>
              <a:t>Pruebas de regresión y E2E</a:t>
            </a:r>
          </a:p>
        </p:txBody>
      </p:sp>
    </p:spTree>
    <p:extLst>
      <p:ext uri="{BB962C8B-B14F-4D97-AF65-F5344CB8AC3E}">
        <p14:creationId xmlns:p14="http://schemas.microsoft.com/office/powerpoint/2010/main" val="40005330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Marcador de conteni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51427815"/>
              </p:ext>
            </p:extLst>
          </p:nvPr>
        </p:nvGraphicFramePr>
        <p:xfrm>
          <a:off x="243503" y="1410263"/>
          <a:ext cx="8202666" cy="42150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4 CuadroTexto"/>
          <p:cNvSpPr txBox="1"/>
          <p:nvPr/>
        </p:nvSpPr>
        <p:spPr>
          <a:xfrm>
            <a:off x="72187" y="0"/>
            <a:ext cx="40492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>
                <a:solidFill>
                  <a:prstClr val="white"/>
                </a:solidFill>
              </a:rPr>
              <a:t>Escenario E2E Flujos de los diferentes productos</a:t>
            </a:r>
          </a:p>
        </p:txBody>
      </p:sp>
    </p:spTree>
    <p:extLst>
      <p:ext uri="{BB962C8B-B14F-4D97-AF65-F5344CB8AC3E}">
        <p14:creationId xmlns:p14="http://schemas.microsoft.com/office/powerpoint/2010/main" val="9603504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Alcance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67048" y="1654935"/>
            <a:ext cx="8229600" cy="4525963"/>
          </a:xfrm>
        </p:spPr>
        <p:txBody>
          <a:bodyPr>
            <a:normAutofit/>
          </a:bodyPr>
          <a:lstStyle/>
          <a:p>
            <a:r>
              <a:rPr lang="es-MX" sz="2400" dirty="0"/>
              <a:t>El alcance de las pruebas funcionales será:</a:t>
            </a:r>
          </a:p>
          <a:p>
            <a:r>
              <a:rPr lang="es-MX" sz="2400" dirty="0"/>
              <a:t>Desde la carga inicial de archivos  a persistir en la base de datos del canal de contingencia</a:t>
            </a:r>
          </a:p>
          <a:p>
            <a:r>
              <a:rPr lang="es-MX" sz="2400" dirty="0"/>
              <a:t>Hasta la extracción del archivo que se persistirá en la base de datos de BLE</a:t>
            </a:r>
            <a:endParaRPr lang="es-CO" sz="2400" dirty="0"/>
          </a:p>
        </p:txBody>
      </p:sp>
    </p:spTree>
    <p:extLst>
      <p:ext uri="{BB962C8B-B14F-4D97-AF65-F5344CB8AC3E}">
        <p14:creationId xmlns:p14="http://schemas.microsoft.com/office/powerpoint/2010/main" val="35629846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o99dpgM0WNNbGpl0.P8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76zNgeUE225rPRwuQV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r4lfrE_y.0._UUmm7W5b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h7UA68YEGTRD18QYeK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q_e_prrkalrZTtcJ1O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O_VPqh9USXz1dahgwY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xgnSq_eEq8mMCDPXvuB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vLojhkF0imffHVPv_Q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1kIybBrk2NNxRAQgum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3BhFlwUS8w2JjAlxCU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1cWfDXPu0eaRyyM_w13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y0X1Y.o0y2_EXXRGx9y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bOT2tWgjZEqNkyTCXOoS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uB.w6HvUmS1780yaOA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FnahvGl0amiq72o9Sg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wonRVj6U6PWeMn5Fek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9vFJjxs0GByqr3j9xD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cbowMbeEGY1vrdI9pdmA"/>
</p:tagLst>
</file>

<file path=ppt/theme/theme1.xml><?xml version="1.0" encoding="utf-8"?>
<a:theme xmlns:a="http://schemas.openxmlformats.org/drawingml/2006/main" name="Office Theme">
  <a:themeElements>
    <a:clrScheme name="Diego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blank">
  <a:themeElements>
    <a:clrScheme name="blank 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FFFE1"/>
      </a:accent1>
      <a:accent2>
        <a:srgbClr val="B2B2B2"/>
      </a:accent2>
      <a:accent3>
        <a:srgbClr val="FFFFFF"/>
      </a:accent3>
      <a:accent4>
        <a:srgbClr val="000000"/>
      </a:accent4>
      <a:accent5>
        <a:srgbClr val="FFFFEE"/>
      </a:accent5>
      <a:accent6>
        <a:srgbClr val="A1A1A1"/>
      </a:accent6>
      <a:hlink>
        <a:srgbClr val="005AAA"/>
      </a:hlink>
      <a:folHlink>
        <a:srgbClr val="002960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AEAEA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39FE7"/>
        </a:accent6>
        <a:hlink>
          <a:srgbClr val="005AAA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E1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FFEE"/>
        </a:accent5>
        <a:accent6>
          <a:srgbClr val="A1A1A1"/>
        </a:accent6>
        <a:hlink>
          <a:srgbClr val="005AAA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0B674BCD04104143B925E94D13EE63D6" ma:contentTypeVersion="8" ma:contentTypeDescription="Crear nuevo documento." ma:contentTypeScope="" ma:versionID="02a8e9dbe448fde3d28822232c77ecba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99c78fe733576f46bbe313b297c8672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ó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362D746-BE77-4613-BD00-07E1F928C81D}">
  <ds:schemaRefs>
    <ds:schemaRef ds:uri="http://schemas.microsoft.com/sharepoint/v3/fields"/>
    <ds:schemaRef ds:uri="http://purl.org/dc/terms/"/>
    <ds:schemaRef ds:uri="http://schemas.microsoft.com/office/infopath/2007/PartnerControls"/>
    <ds:schemaRef ds:uri="http://purl.org/dc/dcmitype/"/>
    <ds:schemaRef ds:uri="http://www.w3.org/XML/1998/namespace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7E6B6FF0-EF47-44A9-B412-A2473928172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6E510BE-CDCA-4BFA-B93C-8A02218BD3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</TotalTime>
  <Words>883</Words>
  <Application>Microsoft Office PowerPoint</Application>
  <PresentationFormat>Presentación en pantalla (4:3)</PresentationFormat>
  <Paragraphs>85</Paragraphs>
  <Slides>5</Slides>
  <Notes>3</Notes>
  <HiddenSlides>1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1" baseType="lpstr">
      <vt:lpstr>Arial</vt:lpstr>
      <vt:lpstr>Calibri</vt:lpstr>
      <vt:lpstr>Tahoma</vt:lpstr>
      <vt:lpstr>Office Theme</vt:lpstr>
      <vt:lpstr>blank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Alcan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damentos de Testing</dc:title>
  <dc:creator>Diego Leon Puerta Carvajal</dc:creator>
  <cp:lastModifiedBy>William Andrés  Betancur</cp:lastModifiedBy>
  <cp:revision>808</cp:revision>
  <dcterms:created xsi:type="dcterms:W3CDTF">2011-11-24T20:13:49Z</dcterms:created>
  <dcterms:modified xsi:type="dcterms:W3CDTF">2021-05-27T20:3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0B674BCD04104143B925E94D13EE63D6</vt:lpwstr>
  </property>
  <property fmtid="{D5CDD505-2E9C-101B-9397-08002B2CF9AE}" pid="4" name="Order">
    <vt:r8>100</vt:r8>
  </property>
  <property fmtid="{D5CDD505-2E9C-101B-9397-08002B2CF9AE}" pid="5" name="Descripción">
    <vt:lpwstr>Primera sesión de la Escuela de Test Manager</vt:lpwstr>
  </property>
  <property fmtid="{D5CDD505-2E9C-101B-9397-08002B2CF9AE}" pid="6" name="xd_ProgID">
    <vt:lpwstr/>
  </property>
  <property fmtid="{D5CDD505-2E9C-101B-9397-08002B2CF9AE}" pid="7" name="TemplateUrl">
    <vt:lpwstr/>
  </property>
  <property fmtid="{D5CDD505-2E9C-101B-9397-08002B2CF9AE}" pid="8" name="TaxKeyword">
    <vt:lpwstr/>
  </property>
  <property fmtid="{D5CDD505-2E9C-101B-9397-08002B2CF9AE}" pid="9" name="TaxCatchAll">
    <vt:lpwstr/>
  </property>
  <property fmtid="{D5CDD505-2E9C-101B-9397-08002B2CF9AE}" pid="10" name="TaxKeywordTaxHTField">
    <vt:lpwstr/>
  </property>
</Properties>
</file>